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59" r:id="rId4"/>
  </p:sldIdLst>
  <p:sldSz cx="12192000" cy="6858000"/>
  <p:notesSz cx="6858000" cy="9144000"/>
  <p:custDataLst>
    <p:tags r:id="rId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432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56" autoAdjust="0"/>
    <p:restoredTop sz="96274" autoAdjust="0"/>
  </p:normalViewPr>
  <p:slideViewPr>
    <p:cSldViewPr snapToGrid="0" showGuides="1">
      <p:cViewPr varScale="1">
        <p:scale>
          <a:sx n="128" d="100"/>
          <a:sy n="128" d="100"/>
        </p:scale>
        <p:origin x="200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D09BDA-E210-BA40-4E23-B6C7ECEA78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3DAFB4A5-18F8-5D99-9BDF-1C1636FD9E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4D13ECD-9FE6-DE2B-81F5-BBC3A5DC7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484F37D-5999-E3F4-93ED-E1277A942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34469F8-188F-310F-4ACC-673251C0E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33810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89BC3DA-EFE2-982B-BA12-75C0E1780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CBE7CD10-4BF6-62F8-DCA7-676788F420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7A6DADF-2141-C37C-3237-D7E2C322A7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A34B0AD-D11B-2CED-D510-9A9EF7933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B57D0A7-B711-D267-4A37-7384CCB01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499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F09D2035-2CCF-76BB-2260-73447E6BB9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EFC6105-7C34-2AA8-D5E4-50E49A7CF7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0A5739B-8F95-DFB6-665D-7F7EA8753C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4A5BB38-192D-FDE1-6C77-EC49525EBC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F474F0F-DB19-47BE-3FEB-93880A7FD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294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E313F6D-1CC2-31A0-0439-B6AE3C9D3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29CF86E-71C1-E4BB-C294-AAC5DF744D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3FE5B23-E0FE-F3A2-D474-E1DCB80A54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E314CEE-9A4A-3D1C-37B0-D7CC1691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5BAA6BA-8E37-47CD-1171-F52813305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5450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F5A3BA3-9D10-DA0B-E5E4-0678F35B72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09C4911-50AA-EB67-B1BA-59A587B3A5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3A281EF-77EA-FF67-39F0-B5A270276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6542FC1-C53B-1154-3751-9E96C27DA4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ED393CC-AF77-3D46-CDC9-49C87B57A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71339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3E0D1F2-C6C5-D271-3EA3-92A8E05BA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28C888B-7C77-2717-F3C3-C7D7FC2198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1DBA0B2B-B698-6BF1-AF8A-794E21CE45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5C65BB84-4E41-0F99-B484-EC7F92DC9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1BBB037-D643-D3F0-DBF3-D404E322D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E224D0C-CF77-8CB1-26B6-FB4B1333E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3920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4282CF-D58C-69EF-9C1C-F541D70786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B17EA1B-433F-3BF3-9C60-7ACE878AE7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A684261-BDAB-6C12-5295-FB36436EFA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9C8C03FA-10B6-2ED3-225E-8CBBDB4C4F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D6C94ACF-131D-5E5C-F566-9DD95F0C45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E6B81AEF-229E-265E-10E4-B45E187FDF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560953CF-EE98-A3BB-5089-79AEDF608D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0293DCD5-564B-FAD0-6351-232158CB5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0658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CCFEFE-8B1C-30FE-85D3-A05C48B5E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673BFA3-0E2A-6E87-95A5-0CBF660D75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E47553A2-4F26-8A9A-24CA-5798C5708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1B61219-9738-93C2-9DAC-E91AB55D1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9906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99906B91-8DCE-93F5-4FBA-BE8E5A56E5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AA15C68-D9CC-7FC4-B902-D0F0E7E57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42B9F02-49C4-3FBE-F8BA-42BB56E6D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7981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8C48E3-8D73-15D0-1FF0-19860F24C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9E886A9-7927-6D15-6488-E1C95F96E2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0DBF4AA3-A658-6950-4FDD-C5DE8D8228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CA0EF49-B963-347D-87E2-1F621ECFC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4DFCA39-A3AD-7FDE-E4A4-AB99BF9E5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3B94DD8B-73D1-4C90-8EF2-A30FA70BC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2779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CCE40A0-F091-6537-B5B2-157A1F2E5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41E8A730-F5BE-D953-A610-7E20FB1E59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DB71CB8D-995D-F8AA-2D0A-AF55098F9A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DF07B23-187C-B201-697D-72D40711A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87CDEE5-6410-25FA-AE68-BEF969A6A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CA59861-CAA4-921F-9C9C-0ECE51F05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2847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F7DBEDBB-F3C4-E78F-12B4-46F0B3354B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32400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幻灯片" r:id="rId15" imgW="532" imgH="530" progId="TCLayout.ActiveDocument.1">
                  <p:embed/>
                </p:oleObj>
              </mc:Choice>
              <mc:Fallback>
                <p:oleObj name="think-cell 幻灯片" r:id="rId1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44D5F78C-CE16-056E-7DF5-1228070BB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0EF46A5-666C-2A1D-DA08-F75A6C48683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75C6FE-63E9-424A-8416-CC0F1FB4CBDF}" type="datetimeFigureOut">
              <a:rPr lang="zh-CN" altLang="en-US" smtClean="0"/>
              <a:t>2022/7/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3F5959A-659F-A455-9C53-A76D831B9C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0A32504-DAF3-C3C9-CB32-6E3988A61D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A6C358-14BA-4CEA-A06E-0A426C23FC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0172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84" Type="http://schemas.openxmlformats.org/officeDocument/2006/relationships/image" Target="../media/image2.emf"/><Relationship Id="rId16" Type="http://schemas.openxmlformats.org/officeDocument/2006/relationships/tags" Target="../tags/tag17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5" Type="http://schemas.openxmlformats.org/officeDocument/2006/relationships/tags" Target="../tags/tag6.xml"/><Relationship Id="rId61" Type="http://schemas.openxmlformats.org/officeDocument/2006/relationships/tags" Target="../tags/tag62.xml"/><Relationship Id="rId82" Type="http://schemas.openxmlformats.org/officeDocument/2006/relationships/image" Target="../media/image1.emf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77" Type="http://schemas.openxmlformats.org/officeDocument/2006/relationships/tags" Target="../tags/tag78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80" Type="http://schemas.openxmlformats.org/officeDocument/2006/relationships/slideLayout" Target="../slideLayouts/slideLayout7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83" Type="http://schemas.openxmlformats.org/officeDocument/2006/relationships/package" Target="../embeddings/Microsoft_Word_Document.docx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81" Type="http://schemas.openxmlformats.org/officeDocument/2006/relationships/oleObject" Target="../embeddings/oleObject2.bin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105.xml"/><Relationship Id="rId21" Type="http://schemas.openxmlformats.org/officeDocument/2006/relationships/tags" Target="../tags/tag100.xml"/><Relationship Id="rId42" Type="http://schemas.openxmlformats.org/officeDocument/2006/relationships/tags" Target="../tags/tag121.xml"/><Relationship Id="rId47" Type="http://schemas.openxmlformats.org/officeDocument/2006/relationships/tags" Target="../tags/tag126.xml"/><Relationship Id="rId63" Type="http://schemas.openxmlformats.org/officeDocument/2006/relationships/tags" Target="../tags/tag142.xml"/><Relationship Id="rId68" Type="http://schemas.openxmlformats.org/officeDocument/2006/relationships/tags" Target="../tags/tag147.xml"/><Relationship Id="rId84" Type="http://schemas.openxmlformats.org/officeDocument/2006/relationships/image" Target="../media/image3.emf"/><Relationship Id="rId16" Type="http://schemas.openxmlformats.org/officeDocument/2006/relationships/tags" Target="../tags/tag95.xml"/><Relationship Id="rId11" Type="http://schemas.openxmlformats.org/officeDocument/2006/relationships/tags" Target="../tags/tag90.xml"/><Relationship Id="rId32" Type="http://schemas.openxmlformats.org/officeDocument/2006/relationships/tags" Target="../tags/tag111.xml"/><Relationship Id="rId37" Type="http://schemas.openxmlformats.org/officeDocument/2006/relationships/tags" Target="../tags/tag116.xml"/><Relationship Id="rId53" Type="http://schemas.openxmlformats.org/officeDocument/2006/relationships/tags" Target="../tags/tag132.xml"/><Relationship Id="rId58" Type="http://schemas.openxmlformats.org/officeDocument/2006/relationships/tags" Target="../tags/tag137.xml"/><Relationship Id="rId74" Type="http://schemas.openxmlformats.org/officeDocument/2006/relationships/tags" Target="../tags/tag153.xml"/><Relationship Id="rId79" Type="http://schemas.openxmlformats.org/officeDocument/2006/relationships/tags" Target="../tags/tag158.xml"/><Relationship Id="rId5" Type="http://schemas.openxmlformats.org/officeDocument/2006/relationships/tags" Target="../tags/tag84.xml"/><Relationship Id="rId61" Type="http://schemas.openxmlformats.org/officeDocument/2006/relationships/tags" Target="../tags/tag140.xml"/><Relationship Id="rId82" Type="http://schemas.openxmlformats.org/officeDocument/2006/relationships/image" Target="../media/image1.emf"/><Relationship Id="rId19" Type="http://schemas.openxmlformats.org/officeDocument/2006/relationships/tags" Target="../tags/tag98.xml"/><Relationship Id="rId14" Type="http://schemas.openxmlformats.org/officeDocument/2006/relationships/tags" Target="../tags/tag93.xml"/><Relationship Id="rId22" Type="http://schemas.openxmlformats.org/officeDocument/2006/relationships/tags" Target="../tags/tag101.xml"/><Relationship Id="rId27" Type="http://schemas.openxmlformats.org/officeDocument/2006/relationships/tags" Target="../tags/tag106.xml"/><Relationship Id="rId30" Type="http://schemas.openxmlformats.org/officeDocument/2006/relationships/tags" Target="../tags/tag109.xml"/><Relationship Id="rId35" Type="http://schemas.openxmlformats.org/officeDocument/2006/relationships/tags" Target="../tags/tag114.xml"/><Relationship Id="rId43" Type="http://schemas.openxmlformats.org/officeDocument/2006/relationships/tags" Target="../tags/tag122.xml"/><Relationship Id="rId48" Type="http://schemas.openxmlformats.org/officeDocument/2006/relationships/tags" Target="../tags/tag127.xml"/><Relationship Id="rId56" Type="http://schemas.openxmlformats.org/officeDocument/2006/relationships/tags" Target="../tags/tag135.xml"/><Relationship Id="rId64" Type="http://schemas.openxmlformats.org/officeDocument/2006/relationships/tags" Target="../tags/tag143.xml"/><Relationship Id="rId69" Type="http://schemas.openxmlformats.org/officeDocument/2006/relationships/tags" Target="../tags/tag148.xml"/><Relationship Id="rId77" Type="http://schemas.openxmlformats.org/officeDocument/2006/relationships/tags" Target="../tags/tag156.xml"/><Relationship Id="rId8" Type="http://schemas.openxmlformats.org/officeDocument/2006/relationships/tags" Target="../tags/tag87.xml"/><Relationship Id="rId51" Type="http://schemas.openxmlformats.org/officeDocument/2006/relationships/tags" Target="../tags/tag130.xml"/><Relationship Id="rId72" Type="http://schemas.openxmlformats.org/officeDocument/2006/relationships/tags" Target="../tags/tag151.xml"/><Relationship Id="rId80" Type="http://schemas.openxmlformats.org/officeDocument/2006/relationships/slideLayout" Target="../slideLayouts/slideLayout7.xml"/><Relationship Id="rId3" Type="http://schemas.openxmlformats.org/officeDocument/2006/relationships/tags" Target="../tags/tag82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tags" Target="../tags/tag104.xml"/><Relationship Id="rId33" Type="http://schemas.openxmlformats.org/officeDocument/2006/relationships/tags" Target="../tags/tag112.xml"/><Relationship Id="rId38" Type="http://schemas.openxmlformats.org/officeDocument/2006/relationships/tags" Target="../tags/tag117.xml"/><Relationship Id="rId46" Type="http://schemas.openxmlformats.org/officeDocument/2006/relationships/tags" Target="../tags/tag125.xml"/><Relationship Id="rId59" Type="http://schemas.openxmlformats.org/officeDocument/2006/relationships/tags" Target="../tags/tag138.xml"/><Relationship Id="rId67" Type="http://schemas.openxmlformats.org/officeDocument/2006/relationships/tags" Target="../tags/tag146.xml"/><Relationship Id="rId20" Type="http://schemas.openxmlformats.org/officeDocument/2006/relationships/tags" Target="../tags/tag99.xml"/><Relationship Id="rId41" Type="http://schemas.openxmlformats.org/officeDocument/2006/relationships/tags" Target="../tags/tag120.xml"/><Relationship Id="rId54" Type="http://schemas.openxmlformats.org/officeDocument/2006/relationships/tags" Target="../tags/tag133.xml"/><Relationship Id="rId62" Type="http://schemas.openxmlformats.org/officeDocument/2006/relationships/tags" Target="../tags/tag141.xml"/><Relationship Id="rId70" Type="http://schemas.openxmlformats.org/officeDocument/2006/relationships/tags" Target="../tags/tag149.xml"/><Relationship Id="rId75" Type="http://schemas.openxmlformats.org/officeDocument/2006/relationships/tags" Target="../tags/tag154.xml"/><Relationship Id="rId83" Type="http://schemas.openxmlformats.org/officeDocument/2006/relationships/package" Target="../embeddings/Microsoft_Word_Document1.docx"/><Relationship Id="rId1" Type="http://schemas.openxmlformats.org/officeDocument/2006/relationships/vmlDrawing" Target="../drawings/vmlDrawing3.vml"/><Relationship Id="rId6" Type="http://schemas.openxmlformats.org/officeDocument/2006/relationships/tags" Target="../tags/tag85.xml"/><Relationship Id="rId15" Type="http://schemas.openxmlformats.org/officeDocument/2006/relationships/tags" Target="../tags/tag94.xml"/><Relationship Id="rId23" Type="http://schemas.openxmlformats.org/officeDocument/2006/relationships/tags" Target="../tags/tag102.xml"/><Relationship Id="rId28" Type="http://schemas.openxmlformats.org/officeDocument/2006/relationships/tags" Target="../tags/tag107.xml"/><Relationship Id="rId36" Type="http://schemas.openxmlformats.org/officeDocument/2006/relationships/tags" Target="../tags/tag115.xml"/><Relationship Id="rId49" Type="http://schemas.openxmlformats.org/officeDocument/2006/relationships/tags" Target="../tags/tag128.xml"/><Relationship Id="rId57" Type="http://schemas.openxmlformats.org/officeDocument/2006/relationships/tags" Target="../tags/tag136.xml"/><Relationship Id="rId10" Type="http://schemas.openxmlformats.org/officeDocument/2006/relationships/tags" Target="../tags/tag89.xml"/><Relationship Id="rId31" Type="http://schemas.openxmlformats.org/officeDocument/2006/relationships/tags" Target="../tags/tag110.xml"/><Relationship Id="rId44" Type="http://schemas.openxmlformats.org/officeDocument/2006/relationships/tags" Target="../tags/tag123.xml"/><Relationship Id="rId52" Type="http://schemas.openxmlformats.org/officeDocument/2006/relationships/tags" Target="../tags/tag131.xml"/><Relationship Id="rId60" Type="http://schemas.openxmlformats.org/officeDocument/2006/relationships/tags" Target="../tags/tag139.xml"/><Relationship Id="rId65" Type="http://schemas.openxmlformats.org/officeDocument/2006/relationships/tags" Target="../tags/tag144.xml"/><Relationship Id="rId73" Type="http://schemas.openxmlformats.org/officeDocument/2006/relationships/tags" Target="../tags/tag152.xml"/><Relationship Id="rId78" Type="http://schemas.openxmlformats.org/officeDocument/2006/relationships/tags" Target="../tags/tag157.xml"/><Relationship Id="rId81" Type="http://schemas.openxmlformats.org/officeDocument/2006/relationships/oleObject" Target="../embeddings/oleObject3.bin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39" Type="http://schemas.openxmlformats.org/officeDocument/2006/relationships/tags" Target="../tags/tag118.xml"/><Relationship Id="rId34" Type="http://schemas.openxmlformats.org/officeDocument/2006/relationships/tags" Target="../tags/tag113.xml"/><Relationship Id="rId50" Type="http://schemas.openxmlformats.org/officeDocument/2006/relationships/tags" Target="../tags/tag129.xml"/><Relationship Id="rId55" Type="http://schemas.openxmlformats.org/officeDocument/2006/relationships/tags" Target="../tags/tag134.xml"/><Relationship Id="rId76" Type="http://schemas.openxmlformats.org/officeDocument/2006/relationships/tags" Target="../tags/tag155.xml"/><Relationship Id="rId7" Type="http://schemas.openxmlformats.org/officeDocument/2006/relationships/tags" Target="../tags/tag86.xml"/><Relationship Id="rId71" Type="http://schemas.openxmlformats.org/officeDocument/2006/relationships/tags" Target="../tags/tag150.xml"/><Relationship Id="rId2" Type="http://schemas.openxmlformats.org/officeDocument/2006/relationships/tags" Target="../tags/tag81.xml"/><Relationship Id="rId29" Type="http://schemas.openxmlformats.org/officeDocument/2006/relationships/tags" Target="../tags/tag108.xml"/><Relationship Id="rId24" Type="http://schemas.openxmlformats.org/officeDocument/2006/relationships/tags" Target="../tags/tag103.xml"/><Relationship Id="rId40" Type="http://schemas.openxmlformats.org/officeDocument/2006/relationships/tags" Target="../tags/tag119.xml"/><Relationship Id="rId45" Type="http://schemas.openxmlformats.org/officeDocument/2006/relationships/tags" Target="../tags/tag124.xml"/><Relationship Id="rId66" Type="http://schemas.openxmlformats.org/officeDocument/2006/relationships/tags" Target="../tags/tag14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对象 62" hidden="1">
            <a:extLst>
              <a:ext uri="{FF2B5EF4-FFF2-40B4-BE49-F238E27FC236}">
                <a16:creationId xmlns:a16="http://schemas.microsoft.com/office/drawing/2014/main" id="{C7A6053A-B555-50E6-813A-11BE30ED8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03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幻灯片" r:id="rId81" imgW="532" imgH="530" progId="TCLayout.ActiveDocument.1">
                  <p:embed/>
                </p:oleObj>
              </mc:Choice>
              <mc:Fallback>
                <p:oleObj name="think-cell 幻灯片" r:id="rId81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55663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5749AC-F04D-4558-9D50-68D9D738B19B}" type="datetime'''''''''1'''''''''''''''''">
              <a:rPr lang="zh-CN" altLang="en-US" sz="1400" smtClean="0">
                <a:effectLst/>
                <a:ea typeface="等线" panose="02010600030101010101" pitchFamily="2" charset="-122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48" name="文本占位符 2">
            <a:extLst>
              <a:ext uri="{FF2B5EF4-FFF2-40B4-BE49-F238E27FC236}">
                <a16:creationId xmlns:a16="http://schemas.microsoft.com/office/drawing/2014/main" id="{E8473AC8-FF06-824E-CB24-B8113463FAF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01738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52453-4507-4A06-822D-AF311C24F685}" type="datetime'''''''''''''''''''''''''''2'''''''''''''''''''''''''''">
              <a:rPr lang="zh-CN" altLang="en-US" sz="1400" smtClean="0">
                <a:ea typeface="等线" panose="02010600030101010101" pitchFamily="2" charset="-122"/>
              </a:rPr>
              <a:pPr/>
              <a:t>2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49" name="文本占位符 2">
            <a:extLst>
              <a:ext uri="{FF2B5EF4-FFF2-40B4-BE49-F238E27FC236}">
                <a16:creationId xmlns:a16="http://schemas.microsoft.com/office/drawing/2014/main" id="{F4A100FD-AA86-D244-710F-35D5D3E0D88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47813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BBBA29-36C0-4122-A647-9177CB3D5653}" type="datetime'''''''''''3'''''''''''''''''''''''''''''">
              <a:rPr lang="zh-CN" altLang="en-US" sz="1400" smtClean="0">
                <a:ea typeface="等线" panose="02010600030101010101" pitchFamily="2" charset="-122"/>
              </a:rPr>
              <a:pPr/>
              <a:t>3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0" name="文本占位符 2">
            <a:extLst>
              <a:ext uri="{FF2B5EF4-FFF2-40B4-BE49-F238E27FC236}">
                <a16:creationId xmlns:a16="http://schemas.microsoft.com/office/drawing/2014/main" id="{3A2B8411-6D03-DCC8-E7B4-540B7B00F8A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93888" y="1390650"/>
            <a:ext cx="3444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12D54B-9E65-4E20-9611-A33A4D2AF266}" type="datetime'''''''''''''''''4'''''''''''''''''''''''''''''">
              <a:rPr lang="zh-CN" altLang="en-US" sz="1400" smtClean="0">
                <a:ea typeface="等线" panose="02010600030101010101" pitchFamily="2" charset="-122"/>
              </a:rPr>
              <a:pPr/>
              <a:t>4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A8C3FCBB-2365-74DD-24B6-954E659743D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238375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C9F78-F25D-420B-9E89-78D8ACB9CB40}" type="datetime'''''''''''''''''''''''''5'''''">
              <a:rPr lang="zh-CN" altLang="en-US" sz="1400" smtClean="0">
                <a:ea typeface="等线" panose="02010600030101010101" pitchFamily="2" charset="-122"/>
              </a:rPr>
              <a:pPr/>
              <a:t>5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D8F5AE8D-7180-F893-9A2F-5E931739820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584450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A50914-48FE-46F8-991D-357C97456FDD}" type="datetime'''''''''6'''''''''''''''''''''''''">
              <a:rPr lang="zh-CN" altLang="en-US" sz="1400" smtClean="0">
                <a:ea typeface="等线" panose="02010600030101010101" pitchFamily="2" charset="-122"/>
              </a:rPr>
              <a:pPr/>
              <a:t>6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3" name="文本占位符 2">
            <a:extLst>
              <a:ext uri="{FF2B5EF4-FFF2-40B4-BE49-F238E27FC236}">
                <a16:creationId xmlns:a16="http://schemas.microsoft.com/office/drawing/2014/main" id="{10A8AA3C-F419-9213-4B66-0E9C6418676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930525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171754-041E-4B2B-AF18-CE930489FE93}" type="datetime'7'''''''''''''''''''''''''''''''''">
              <a:rPr lang="zh-CN" altLang="en-US" sz="1400" smtClean="0">
                <a:ea typeface="等线" panose="02010600030101010101" pitchFamily="2" charset="-122"/>
              </a:rPr>
              <a:pPr/>
              <a:t>7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4" name="文本占位符 2">
            <a:extLst>
              <a:ext uri="{FF2B5EF4-FFF2-40B4-BE49-F238E27FC236}">
                <a16:creationId xmlns:a16="http://schemas.microsoft.com/office/drawing/2014/main" id="{4447683A-8553-0380-729F-3CA9EDA1E9D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76600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11DC6-E28D-4CF8-BA8C-450684824EA2}" type="datetime'''''''''''''''8'''''''''''''''''''''''''''''''''''''''''''">
              <a:rPr lang="zh-CN" altLang="en-US" sz="1400" smtClean="0">
                <a:ea typeface="等线" panose="02010600030101010101" pitchFamily="2" charset="-122"/>
              </a:rPr>
              <a:pPr/>
              <a:t>8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5" name="文本占位符 2">
            <a:extLst>
              <a:ext uri="{FF2B5EF4-FFF2-40B4-BE49-F238E27FC236}">
                <a16:creationId xmlns:a16="http://schemas.microsoft.com/office/drawing/2014/main" id="{DF61B5DD-F1AE-EF89-5D71-DAF193BF40C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622675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0C6F5D-BD5D-4878-80F2-6EF9748AA058}" type="datetime'''''9'''''''''''">
              <a:rPr lang="zh-CN" altLang="en-US" sz="1400" smtClean="0">
                <a:ea typeface="等线" panose="02010600030101010101" pitchFamily="2" charset="-122"/>
              </a:rPr>
              <a:pPr/>
              <a:t>9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6" name="文本占位符 2">
            <a:extLst>
              <a:ext uri="{FF2B5EF4-FFF2-40B4-BE49-F238E27FC236}">
                <a16:creationId xmlns:a16="http://schemas.microsoft.com/office/drawing/2014/main" id="{22D08862-7CCA-6DE4-27BD-E010AA77D39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968750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8CBBC2-8251-476C-BFE6-28F4F49EBBBF}" type="datetime'''''''''''''''''''''''10'''''''''''">
              <a:rPr lang="zh-CN" altLang="en-US" sz="1400" smtClean="0">
                <a:ea typeface="等线" panose="02010600030101010101" pitchFamily="2" charset="-122"/>
              </a:rPr>
              <a:pPr/>
              <a:t>10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7" name="文本占位符 2">
            <a:extLst>
              <a:ext uri="{FF2B5EF4-FFF2-40B4-BE49-F238E27FC236}">
                <a16:creationId xmlns:a16="http://schemas.microsoft.com/office/drawing/2014/main" id="{D2065582-F476-B514-0B9B-3D2840DF8C0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314825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B94ABC-2F51-42F8-A590-A6918EE21255}" type="datetime'1''''''''1'''''''''''''''''''''''''''''''''''''''''''">
              <a:rPr lang="zh-CN" altLang="en-US" sz="1400" smtClean="0">
                <a:ea typeface="等线" panose="02010600030101010101" pitchFamily="2" charset="-122"/>
              </a:rPr>
              <a:pPr/>
              <a:t>11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75038147-1903-BBE4-C49F-B0AB0C84B1B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60900" y="1390650"/>
            <a:ext cx="3444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2AF4CE-6A2A-41CC-8876-F480F75430F4}" type="datetime'1''2'''''''''''''''''''''''''''''''''''''''''''''''''''''''''">
              <a:rPr lang="zh-CN" altLang="en-US" sz="1400" smtClean="0">
                <a:ea typeface="等线" panose="02010600030101010101" pitchFamily="2" charset="-122"/>
              </a:rPr>
              <a:pPr/>
              <a:t>12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59" name="文本占位符 2">
            <a:extLst>
              <a:ext uri="{FF2B5EF4-FFF2-40B4-BE49-F238E27FC236}">
                <a16:creationId xmlns:a16="http://schemas.microsoft.com/office/drawing/2014/main" id="{CFE1EB0D-BC1D-A94B-A86D-56F76274411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005388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B5860F-81A1-44B9-9E22-4AD1D277C063}" type="datetime'''''''''''1''''3'''''''''''''''''''''''''''''">
              <a:rPr lang="zh-CN" altLang="en-US" sz="1400" smtClean="0">
                <a:ea typeface="等线" panose="02010600030101010101" pitchFamily="2" charset="-122"/>
              </a:rPr>
              <a:pPr/>
              <a:t>13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0BEE50F2-AA17-F78E-7CF7-1796BE9B49A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51463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1430DE-03C7-42CC-9427-AAC1AB235DE0}" type="datetime'''''''''''''''''''''''''''''14'''''''''''''">
              <a:rPr lang="zh-CN" altLang="en-US" sz="1400" smtClean="0">
                <a:ea typeface="等线" panose="02010600030101010101" pitchFamily="2" charset="-122"/>
              </a:rPr>
              <a:pPr/>
              <a:t>14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BB34B5C3-022C-840A-EEA7-3C41DD72AA7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697538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869575-2B35-42F2-9BE9-289BD537FDC4}" type="datetime'''''''1''''''''5'''''''''''">
              <a:rPr lang="zh-CN" altLang="en-US" sz="1400" smtClean="0">
                <a:ea typeface="等线" panose="02010600030101010101" pitchFamily="2" charset="-122"/>
              </a:rPr>
              <a:pPr/>
              <a:t>15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cxnSp>
        <p:nvCxnSpPr>
          <p:cNvPr id="534" name="直接连接符 533">
            <a:extLst>
              <a:ext uri="{FF2B5EF4-FFF2-40B4-BE49-F238E27FC236}">
                <a16:creationId xmlns:a16="http://schemas.microsoft.com/office/drawing/2014/main" id="{58E16A09-D7C6-ADA0-0B77-337F10794A2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893888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E4E84DCF-B14A-DEF3-7B00-41537BBA85B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043613" y="1630363"/>
            <a:ext cx="0" cy="33178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5" name="直接连接符 534">
            <a:extLst>
              <a:ext uri="{FF2B5EF4-FFF2-40B4-BE49-F238E27FC236}">
                <a16:creationId xmlns:a16="http://schemas.microsoft.com/office/drawing/2014/main" id="{CC5CC0A9-1E8E-FD97-B7D3-A0E3AAFEF1B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314825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8525D073-9C67-8B7E-068D-15835320853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55663" y="1630363"/>
            <a:ext cx="0" cy="33178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3B31C108-E87C-B866-1167-8CE3288141B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17475" y="1630363"/>
            <a:ext cx="0" cy="33178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1" name="直接连接符 540">
            <a:extLst>
              <a:ext uri="{FF2B5EF4-FFF2-40B4-BE49-F238E27FC236}">
                <a16:creationId xmlns:a16="http://schemas.microsoft.com/office/drawing/2014/main" id="{FB9AB908-6307-5430-F59B-47E720F5CC9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3276600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9" name="直接连接符 538">
            <a:extLst>
              <a:ext uri="{FF2B5EF4-FFF2-40B4-BE49-F238E27FC236}">
                <a16:creationId xmlns:a16="http://schemas.microsoft.com/office/drawing/2014/main" id="{17893681-68EC-33B0-9377-9706CCECA8D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2584450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7" name="直接连接符 546">
            <a:extLst>
              <a:ext uri="{FF2B5EF4-FFF2-40B4-BE49-F238E27FC236}">
                <a16:creationId xmlns:a16="http://schemas.microsoft.com/office/drawing/2014/main" id="{6A2026F8-D50D-CEF9-0E22-7FF82A239DC4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697538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3" name="直接连接符 542">
            <a:extLst>
              <a:ext uri="{FF2B5EF4-FFF2-40B4-BE49-F238E27FC236}">
                <a16:creationId xmlns:a16="http://schemas.microsoft.com/office/drawing/2014/main" id="{E0691FBD-30CE-4CBF-91C5-AAABC1EC0F67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3968750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8" name="直接连接符 537">
            <a:extLst>
              <a:ext uri="{FF2B5EF4-FFF2-40B4-BE49-F238E27FC236}">
                <a16:creationId xmlns:a16="http://schemas.microsoft.com/office/drawing/2014/main" id="{234E37AA-ED89-F0C3-7F31-A5AD6DD814E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238375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2" name="直接连接符 541">
            <a:extLst>
              <a:ext uri="{FF2B5EF4-FFF2-40B4-BE49-F238E27FC236}">
                <a16:creationId xmlns:a16="http://schemas.microsoft.com/office/drawing/2014/main" id="{A6C6E7EC-393D-8F36-2538-822E9B9EDDFF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622675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0" name="直接连接符 539">
            <a:extLst>
              <a:ext uri="{FF2B5EF4-FFF2-40B4-BE49-F238E27FC236}">
                <a16:creationId xmlns:a16="http://schemas.microsoft.com/office/drawing/2014/main" id="{AB90776A-F301-809E-314B-B7CAE7344FD9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2930525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6" name="直接连接符 535">
            <a:extLst>
              <a:ext uri="{FF2B5EF4-FFF2-40B4-BE49-F238E27FC236}">
                <a16:creationId xmlns:a16="http://schemas.microsoft.com/office/drawing/2014/main" id="{ACD389C4-558E-3E41-23BA-1E7212528EEF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201738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直接连接符 536">
            <a:extLst>
              <a:ext uri="{FF2B5EF4-FFF2-40B4-BE49-F238E27FC236}">
                <a16:creationId xmlns:a16="http://schemas.microsoft.com/office/drawing/2014/main" id="{DBFD1A8C-6090-054B-3498-DC442013C558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1547813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直接连接符 543">
            <a:extLst>
              <a:ext uri="{FF2B5EF4-FFF2-40B4-BE49-F238E27FC236}">
                <a16:creationId xmlns:a16="http://schemas.microsoft.com/office/drawing/2014/main" id="{8EDACBEE-A08E-405A-5FDD-461A5015C15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4660900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5" name="直接连接符 544">
            <a:extLst>
              <a:ext uri="{FF2B5EF4-FFF2-40B4-BE49-F238E27FC236}">
                <a16:creationId xmlns:a16="http://schemas.microsoft.com/office/drawing/2014/main" id="{C3A861B8-7232-0F22-9309-7B5CB30311F7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5005388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6" name="直接连接符 545">
            <a:extLst>
              <a:ext uri="{FF2B5EF4-FFF2-40B4-BE49-F238E27FC236}">
                <a16:creationId xmlns:a16="http://schemas.microsoft.com/office/drawing/2014/main" id="{2E7FFC54-D1CE-3F6A-ED0A-96641CC4739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5351463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03BD0E21-B0C3-60B5-83A5-CC0132662360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17475" y="4948238"/>
            <a:ext cx="59261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7F45AFAA-9310-BFFA-ADE7-415FF32F1DE1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117475" y="1630363"/>
            <a:ext cx="59261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2" name="矩形 161">
            <a:extLst>
              <a:ext uri="{FF2B5EF4-FFF2-40B4-BE49-F238E27FC236}">
                <a16:creationId xmlns:a16="http://schemas.microsoft.com/office/drawing/2014/main" id="{0B111DCD-40E2-B4D5-2B61-4F38971B179D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860425" y="1693863"/>
            <a:ext cx="341313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7" name="矩形 516">
            <a:extLst>
              <a:ext uri="{FF2B5EF4-FFF2-40B4-BE49-F238E27FC236}">
                <a16:creationId xmlns:a16="http://schemas.microsoft.com/office/drawing/2014/main" id="{51EE76DE-B6C3-1583-1FE7-4D5CC2446EAA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860425" y="2795588"/>
            <a:ext cx="2070100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5" name="矩形 524">
            <a:extLst>
              <a:ext uri="{FF2B5EF4-FFF2-40B4-BE49-F238E27FC236}">
                <a16:creationId xmlns:a16="http://schemas.microsoft.com/office/drawing/2014/main" id="{3054AFFC-4C34-E87C-1B0D-61190597A3BF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860425" y="4337050"/>
            <a:ext cx="4491038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2" name="矩形 521">
            <a:extLst>
              <a:ext uri="{FF2B5EF4-FFF2-40B4-BE49-F238E27FC236}">
                <a16:creationId xmlns:a16="http://schemas.microsoft.com/office/drawing/2014/main" id="{718B6B11-7801-707E-2629-60AEC47C72EA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860425" y="3676650"/>
            <a:ext cx="3454400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7" name="矩形 526">
            <a:extLst>
              <a:ext uri="{FF2B5EF4-FFF2-40B4-BE49-F238E27FC236}">
                <a16:creationId xmlns:a16="http://schemas.microsoft.com/office/drawing/2014/main" id="{E20CE36A-CB2B-B4A2-31A7-A8EAD6B94814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60425" y="4778375"/>
            <a:ext cx="517842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4" name="矩形 513">
            <a:extLst>
              <a:ext uri="{FF2B5EF4-FFF2-40B4-BE49-F238E27FC236}">
                <a16:creationId xmlns:a16="http://schemas.microsoft.com/office/drawing/2014/main" id="{E89D3EA9-7CC5-67FD-3E58-47F15F6AC2B6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860426" y="2135188"/>
            <a:ext cx="1033463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3" name="矩形 162">
            <a:extLst>
              <a:ext uri="{FF2B5EF4-FFF2-40B4-BE49-F238E27FC236}">
                <a16:creationId xmlns:a16="http://schemas.microsoft.com/office/drawing/2014/main" id="{629E4DD8-D281-E585-C32C-915C0E6D77A4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60425" y="1914525"/>
            <a:ext cx="687388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0" name="矩形 519">
            <a:extLst>
              <a:ext uri="{FF2B5EF4-FFF2-40B4-BE49-F238E27FC236}">
                <a16:creationId xmlns:a16="http://schemas.microsoft.com/office/drawing/2014/main" id="{7AAA96D8-26F9-8744-2F82-3B0E17A7CF99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860425" y="3455988"/>
            <a:ext cx="310832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5" name="矩形 514">
            <a:extLst>
              <a:ext uri="{FF2B5EF4-FFF2-40B4-BE49-F238E27FC236}">
                <a16:creationId xmlns:a16="http://schemas.microsoft.com/office/drawing/2014/main" id="{E803C796-BA31-0B48-FB04-9927A7A52C1C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60425" y="2355850"/>
            <a:ext cx="1377950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6" name="矩形 525">
            <a:extLst>
              <a:ext uri="{FF2B5EF4-FFF2-40B4-BE49-F238E27FC236}">
                <a16:creationId xmlns:a16="http://schemas.microsoft.com/office/drawing/2014/main" id="{97FF0D49-485D-2A7D-F9D6-C7521F79C72A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60425" y="4557713"/>
            <a:ext cx="4837113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8" name="矩形 517">
            <a:extLst>
              <a:ext uri="{FF2B5EF4-FFF2-40B4-BE49-F238E27FC236}">
                <a16:creationId xmlns:a16="http://schemas.microsoft.com/office/drawing/2014/main" id="{7E4DE95F-DDF5-5085-5DC6-24A3505BF7D9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860425" y="3016250"/>
            <a:ext cx="241617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9" name="矩形 518">
            <a:extLst>
              <a:ext uri="{FF2B5EF4-FFF2-40B4-BE49-F238E27FC236}">
                <a16:creationId xmlns:a16="http://schemas.microsoft.com/office/drawing/2014/main" id="{24D34457-07E5-7E60-9CA2-1F34723E1FD4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860425" y="3236913"/>
            <a:ext cx="2762250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6" name="矩形 515">
            <a:extLst>
              <a:ext uri="{FF2B5EF4-FFF2-40B4-BE49-F238E27FC236}">
                <a16:creationId xmlns:a16="http://schemas.microsoft.com/office/drawing/2014/main" id="{AE156003-6C37-3BE2-AEB8-C8DF8DA66DB2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860425" y="2574925"/>
            <a:ext cx="172402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4" name="矩形 523">
            <a:extLst>
              <a:ext uri="{FF2B5EF4-FFF2-40B4-BE49-F238E27FC236}">
                <a16:creationId xmlns:a16="http://schemas.microsoft.com/office/drawing/2014/main" id="{505D604C-475C-1D20-0346-EC1DE4AA0B99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860425" y="4116388"/>
            <a:ext cx="4144963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3" name="矩形 522">
            <a:extLst>
              <a:ext uri="{FF2B5EF4-FFF2-40B4-BE49-F238E27FC236}">
                <a16:creationId xmlns:a16="http://schemas.microsoft.com/office/drawing/2014/main" id="{9AE25E49-0032-1BA3-18DB-64B3142C5F83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860425" y="3897313"/>
            <a:ext cx="380047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8" name="等腰三角形 557">
            <a:extLst>
              <a:ext uri="{FF2B5EF4-FFF2-40B4-BE49-F238E27FC236}">
                <a16:creationId xmlns:a16="http://schemas.microsoft.com/office/drawing/2014/main" id="{A56D444F-ABD0-44DC-EBC3-DE10E278F4E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3911600" y="34385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6" name="等腰三角形 555">
            <a:extLst>
              <a:ext uri="{FF2B5EF4-FFF2-40B4-BE49-F238E27FC236}">
                <a16:creationId xmlns:a16="http://schemas.microsoft.com/office/drawing/2014/main" id="{A0953E10-4E00-A0A7-34E4-0445FC18D159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2527300" y="2557463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4" name="等腰三角形 163">
            <a:extLst>
              <a:ext uri="{FF2B5EF4-FFF2-40B4-BE49-F238E27FC236}">
                <a16:creationId xmlns:a16="http://schemas.microsoft.com/office/drawing/2014/main" id="{2E7EE831-7CE2-A75D-5081-6F72CDFC5FE6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1836738" y="21177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7" name="等腰三角形 556">
            <a:extLst>
              <a:ext uri="{FF2B5EF4-FFF2-40B4-BE49-F238E27FC236}">
                <a16:creationId xmlns:a16="http://schemas.microsoft.com/office/drawing/2014/main" id="{A5D5CE71-1329-1BDD-2DB1-A9942A48C694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2873375" y="27781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椭圆 164">
            <a:extLst>
              <a:ext uri="{FF2B5EF4-FFF2-40B4-BE49-F238E27FC236}">
                <a16:creationId xmlns:a16="http://schemas.microsoft.com/office/drawing/2014/main" id="{4592A0CE-F286-48CE-A26B-C719EFAA06BF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1836738" y="2338388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9" name="等腰三角形 558">
            <a:extLst>
              <a:ext uri="{FF2B5EF4-FFF2-40B4-BE49-F238E27FC236}">
                <a16:creationId xmlns:a16="http://schemas.microsoft.com/office/drawing/2014/main" id="{6B04FE17-EA98-A633-5E1C-7C9821D68443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4257675" y="3659188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0" name="等腰三角形 559">
            <a:extLst>
              <a:ext uri="{FF2B5EF4-FFF2-40B4-BE49-F238E27FC236}">
                <a16:creationId xmlns:a16="http://schemas.microsoft.com/office/drawing/2014/main" id="{1A0A61C3-2D34-BBF1-76D9-0D3FC31747CC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4948238" y="40989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1" name="椭圆 560">
            <a:extLst>
              <a:ext uri="{FF2B5EF4-FFF2-40B4-BE49-F238E27FC236}">
                <a16:creationId xmlns:a16="http://schemas.microsoft.com/office/drawing/2014/main" id="{BB534688-2E5C-5312-42A4-E542C94C441C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4948238" y="4540250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2" name="椭圆 561">
            <a:extLst>
              <a:ext uri="{FF2B5EF4-FFF2-40B4-BE49-F238E27FC236}">
                <a16:creationId xmlns:a16="http://schemas.microsoft.com/office/drawing/2014/main" id="{2F17E0C7-49C3-C903-DC8D-7B30AE2F5EF5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4257675" y="4319588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3" name="椭圆 562">
            <a:extLst>
              <a:ext uri="{FF2B5EF4-FFF2-40B4-BE49-F238E27FC236}">
                <a16:creationId xmlns:a16="http://schemas.microsoft.com/office/drawing/2014/main" id="{61780CC2-88FC-93F6-3F56-D8B801E16ED5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3911600" y="3879850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5" name="椭圆 564">
            <a:extLst>
              <a:ext uri="{FF2B5EF4-FFF2-40B4-BE49-F238E27FC236}">
                <a16:creationId xmlns:a16="http://schemas.microsoft.com/office/drawing/2014/main" id="{611C962A-71CB-51FA-23A0-D99F08A6C94C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2527300" y="2998788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1" name="椭圆 570">
            <a:extLst>
              <a:ext uri="{FF2B5EF4-FFF2-40B4-BE49-F238E27FC236}">
                <a16:creationId xmlns:a16="http://schemas.microsoft.com/office/drawing/2014/main" id="{7506C07B-5DF4-07E3-42CB-7D961B774599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2873375" y="3438525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C1D2FE9F-6DB5-2F6B-1ABA-19E1005C64F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88913" y="363378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216387-D216-4A7E-9F47-0DEAC040F1D5}" type="datetime'''''''1''''''0'''''''''''''">
              <a:rPr lang="zh-CN" altLang="en-US" sz="1400" smtClean="0">
                <a:solidFill>
                  <a:srgbClr val="C30C3E"/>
                </a:solidFill>
              </a:rPr>
              <a:pPr/>
              <a:t>10</a:t>
            </a:fld>
            <a:endParaRPr lang="zh-CN" altLang="en-US" sz="1400" dirty="0">
              <a:solidFill>
                <a:srgbClr val="C30C3E"/>
              </a:solidFill>
              <a:ea typeface="等线" panose="02010600030101010101" pitchFamily="2" charset="-122"/>
            </a:endParaRPr>
          </a:p>
        </p:txBody>
      </p:sp>
      <p:sp>
        <p:nvSpPr>
          <p:cNvPr id="93" name="文本占位符 2">
            <a:extLst>
              <a:ext uri="{FF2B5EF4-FFF2-40B4-BE49-F238E27FC236}">
                <a16:creationId xmlns:a16="http://schemas.microsoft.com/office/drawing/2014/main" id="{A4A67E8E-5496-4711-2F5E-5C2E59072E2F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88912" y="3413125"/>
            <a:ext cx="166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323F595-83E1-44A6-B3DB-8D3A585C26A8}" type="datetime'''''''''9'">
              <a:rPr lang="zh-CN" altLang="en-US" sz="1400" smtClean="0">
                <a:solidFill>
                  <a:srgbClr val="C30C3E"/>
                </a:solidFill>
              </a:rPr>
              <a:pPr/>
              <a:t>9</a:t>
            </a:fld>
            <a:r>
              <a:rPr lang="en-US" altLang="zh-CN" sz="1400" dirty="0">
                <a:solidFill>
                  <a:srgbClr val="C30C3E"/>
                </a:solidFill>
              </a:rPr>
              <a:t>*</a:t>
            </a:r>
            <a:endParaRPr lang="zh-CN" altLang="en-US" sz="1400" dirty="0">
              <a:solidFill>
                <a:srgbClr val="C30C3E"/>
              </a:solidFill>
              <a:ea typeface="等线" panose="02010600030101010101" pitchFamily="2" charset="-122"/>
            </a:endParaRPr>
          </a:p>
        </p:txBody>
      </p:sp>
      <p:sp>
        <p:nvSpPr>
          <p:cNvPr id="4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88913" y="1871663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A3B9A0-E817-44A6-951E-458EF37B4878}" type="datetime'''''''''''''''''''''''''''''''''''''''2'''''''''''''''">
              <a:rPr lang="zh-CN" altLang="en-US" sz="1400" smtClean="0"/>
              <a:pPr/>
              <a:t>2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9B0764E3-B685-E5FE-664B-196828ED0E3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88913" y="451485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F09680-1342-458A-ABB5-CC59FFCDDBE7}" type="datetime'''''''''''14'''''''''''''''''''''''''''''''''''">
              <a:rPr lang="zh-CN" altLang="en-US" sz="1400" smtClean="0"/>
              <a:pPr/>
              <a:t>14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2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88913" y="165100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EC656F0-1041-487A-9AEC-9A28EAAFA03F}" type="datetime'''''''''''''''''''''''''''''''''''''''''''''''''1'''''''''''''">
              <a:rPr lang="zh-CN" altLang="en-US" sz="1400" smtClean="0"/>
              <a:pPr/>
              <a:t>1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96" name="文本占位符 2">
            <a:extLst>
              <a:ext uri="{FF2B5EF4-FFF2-40B4-BE49-F238E27FC236}">
                <a16:creationId xmlns:a16="http://schemas.microsoft.com/office/drawing/2014/main" id="{817183B4-B475-46AE-82F5-84DF2DFFA184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88913" y="407352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5431D86-3A78-4CA7-BAC1-371EEE5AD750}" type="datetime'''''''''''''''''''1''''''''''''''''2'''''''''''''''''">
              <a:rPr lang="zh-CN" altLang="en-US" sz="1400" smtClean="0">
                <a:solidFill>
                  <a:srgbClr val="C30C3E"/>
                </a:solidFill>
              </a:rPr>
              <a:pPr/>
              <a:t>12</a:t>
            </a:fld>
            <a:endParaRPr lang="zh-CN" altLang="en-US" sz="1400" dirty="0">
              <a:solidFill>
                <a:srgbClr val="C30C3E"/>
              </a:solidFill>
              <a:ea typeface="等线" panose="02010600030101010101" pitchFamily="2" charset="-122"/>
            </a:endParaRPr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88913" y="1414463"/>
            <a:ext cx="595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b="1" dirty="0">
                <a:ea typeface="等线" panose="02010600030101010101" pitchFamily="2" charset="-122"/>
              </a:rPr>
              <a:t>ID/year</a:t>
            </a:r>
            <a:endParaRPr lang="zh-CN" altLang="en-US" sz="1400" b="1" dirty="0">
              <a:ea typeface="等线" panose="02010600030101010101" pitchFamily="2" charset="-122"/>
            </a:endParaRP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88913" y="2752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104630-F728-43BE-A004-89C43A0523A7}" type="datetime'''''''''''''''6'''''''''''''''''''">
              <a:rPr lang="zh-CN" altLang="en-US" sz="1400" smtClean="0">
                <a:solidFill>
                  <a:srgbClr val="C30C3E"/>
                </a:solidFill>
              </a:rPr>
              <a:pPr/>
              <a:t>6</a:t>
            </a:fld>
            <a:endParaRPr lang="zh-CN" altLang="en-US" sz="1400" dirty="0">
              <a:solidFill>
                <a:srgbClr val="C30C3E"/>
              </a:solidFill>
              <a:ea typeface="等线" panose="02010600030101010101" pitchFamily="2" charset="-122"/>
            </a:endParaRPr>
          </a:p>
        </p:txBody>
      </p:sp>
      <p:sp>
        <p:nvSpPr>
          <p:cNvPr id="97" name="文本占位符 2">
            <a:extLst>
              <a:ext uri="{FF2B5EF4-FFF2-40B4-BE49-F238E27FC236}">
                <a16:creationId xmlns:a16="http://schemas.microsoft.com/office/drawing/2014/main" id="{7D90B903-92AF-773B-8996-0853BD3D6B86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88913" y="429418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68F503F-A56E-4BC5-9B98-796373E7A50A}" type="datetime'1''''''''''''''''''''''''''''''3'''''''''''''''''''">
              <a:rPr lang="zh-CN" altLang="en-US" sz="1400" smtClean="0"/>
              <a:pPr/>
              <a:t>13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95" name="文本占位符 2">
            <a:extLst>
              <a:ext uri="{FF2B5EF4-FFF2-40B4-BE49-F238E27FC236}">
                <a16:creationId xmlns:a16="http://schemas.microsoft.com/office/drawing/2014/main" id="{BA6BC848-BDFF-961B-41EC-876F0F75C4C7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88913" y="385445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7DBBDA-ABD1-41BF-B472-AC673EA5C6D4}" type="datetime'''1''''''''''''''''''''''''''''''''''''''''''''1'''''''">
              <a:rPr lang="zh-CN" altLang="en-US" sz="1400" smtClean="0"/>
              <a:pPr/>
              <a:t>11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64" name="文本占位符 2">
            <a:extLst>
              <a:ext uri="{FF2B5EF4-FFF2-40B4-BE49-F238E27FC236}">
                <a16:creationId xmlns:a16="http://schemas.microsoft.com/office/drawing/2014/main" id="{49D3A8D5-B31B-E8B0-F628-71E3979A7DEA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88913" y="2973388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AD1ABA-D187-494D-95BC-8DD603CD806A}" type="datetime'''''''''''''''7'''''''''''">
              <a:rPr lang="zh-CN" altLang="en-US" sz="1400" smtClean="0"/>
              <a:pPr/>
              <a:t>7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F6181E6C-AF4D-C47E-696C-97D2C7ADF3F1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188913" y="47355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02B738-5F52-4704-B6DD-9E6F79514CED}" type="datetime'''''1''5'''''''''''''''''''">
              <a:rPr lang="zh-CN" altLang="en-US" sz="1400" smtClean="0"/>
              <a:pPr/>
              <a:t>15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1807E021-5DD5-4EB5-6F0D-E7E14FE4B1C6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188913" y="31940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18AFC0-9358-4690-B471-F809F3433824}" type="datetime'''''''''''8'''''''''''''''''''''''''''''''''''''''''">
              <a:rPr lang="zh-CN" altLang="en-US" sz="1400" smtClean="0"/>
              <a:pPr/>
              <a:t>8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188913" y="2532063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A1E8B7-CDCC-425F-85E7-296F50A9471B}" type="datetime'''''''''''''''5'''''''''''''''''''''''''''''''''''''">
              <a:rPr lang="zh-CN" altLang="en-US" sz="1400" smtClean="0">
                <a:solidFill>
                  <a:srgbClr val="C30C3E"/>
                </a:solidFill>
              </a:rPr>
              <a:pPr/>
              <a:t>5</a:t>
            </a:fld>
            <a:endParaRPr lang="zh-CN" altLang="en-US" sz="1400" dirty="0">
              <a:solidFill>
                <a:srgbClr val="C30C3E"/>
              </a:solidFill>
              <a:ea typeface="等线" panose="02010600030101010101" pitchFamily="2" charset="-122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188913" y="2312988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4C7105-0040-4BFC-9CC4-EE9B8829673A}" type="datetime'''''4'''''''''''''''''''''''''''''''''''''''">
              <a:rPr lang="zh-CN" altLang="en-US" sz="1400" smtClean="0"/>
              <a:pPr/>
              <a:t>4</a:t>
            </a:fld>
            <a:endParaRPr lang="zh-CN" altLang="en-US" sz="1400" dirty="0">
              <a:ea typeface="等线" panose="02010600030101010101" pitchFamily="2" charset="-122"/>
            </a:endParaRPr>
          </a:p>
        </p:txBody>
      </p:sp>
      <p:sp>
        <p:nvSpPr>
          <p:cNvPr id="5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188913" y="20923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9850E5-8952-4395-A62E-5D94EFA77671}" type="datetime'''''''''''''''''''''''''''''''''''3'''''''''''''''''''''''''">
              <a:rPr lang="zh-CN" altLang="en-US" sz="1400" smtClean="0">
                <a:solidFill>
                  <a:srgbClr val="C30C3E"/>
                </a:solidFill>
              </a:rPr>
              <a:pPr/>
              <a:t>3</a:t>
            </a:fld>
            <a:endParaRPr lang="zh-CN" altLang="en-US" sz="1400" dirty="0">
              <a:solidFill>
                <a:srgbClr val="C30C3E"/>
              </a:solidFill>
              <a:ea typeface="等线" panose="02010600030101010101" pitchFamily="2" charset="-122"/>
            </a:endParaRPr>
          </a:p>
        </p:txBody>
      </p:sp>
      <p:graphicFrame>
        <p:nvGraphicFramePr>
          <p:cNvPr id="512" name="对象 511">
            <a:extLst>
              <a:ext uri="{FF2B5EF4-FFF2-40B4-BE49-F238E27FC236}">
                <a16:creationId xmlns:a16="http://schemas.microsoft.com/office/drawing/2014/main" id="{171409B3-1C50-9738-C6A6-1035794DDFB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1348648"/>
              </p:ext>
            </p:extLst>
          </p:nvPr>
        </p:nvGraphicFramePr>
        <p:xfrm>
          <a:off x="5815670" y="1148862"/>
          <a:ext cx="6438243" cy="44078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Document" r:id="rId83" imgW="11798300" imgH="7162800" progId="Word.Document.12">
                  <p:embed/>
                </p:oleObj>
              </mc:Choice>
              <mc:Fallback>
                <p:oleObj name="Document" r:id="rId83" imgW="11798300" imgH="7162800" progId="Word.Document.12">
                  <p:embed/>
                  <p:pic>
                    <p:nvPicPr>
                      <p:cNvPr id="5" name="对象 4">
                        <a:extLst>
                          <a:ext uri="{FF2B5EF4-FFF2-40B4-BE49-F238E27FC236}">
                            <a16:creationId xmlns:a16="http://schemas.microsoft.com/office/drawing/2014/main" id="{6A86DC58-4110-3EBA-5D9F-CCA9E8DD8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5815670" y="1148862"/>
                        <a:ext cx="6438243" cy="44078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" name="文本框 569">
            <a:extLst>
              <a:ext uri="{FF2B5EF4-FFF2-40B4-BE49-F238E27FC236}">
                <a16:creationId xmlns:a16="http://schemas.microsoft.com/office/drawing/2014/main" id="{842D623A-6A67-7122-A25A-CEFDC60819D7}"/>
              </a:ext>
            </a:extLst>
          </p:cNvPr>
          <p:cNvSpPr txBox="1"/>
          <p:nvPr/>
        </p:nvSpPr>
        <p:spPr>
          <a:xfrm>
            <a:off x="2721685" y="99880"/>
            <a:ext cx="802636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en-US" altLang="zh-CN" sz="1400" b="0" i="0" dirty="0">
                <a:solidFill>
                  <a:srgbClr val="0432FF"/>
                </a:solidFill>
                <a:effectLst/>
                <a:latin typeface="Arial" panose="020B0604020202020204" pitchFamily="34" charset="0"/>
              </a:rPr>
              <a:t>p=probability for any of the potential control to be sampled </a:t>
            </a:r>
            <a:r>
              <a:rPr lang="en-US" altLang="zh-CN" sz="1400" b="0" i="0" u="sng" dirty="0">
                <a:solidFill>
                  <a:srgbClr val="0432FF"/>
                </a:solidFill>
                <a:effectLst/>
                <a:latin typeface="Arial" panose="020B0604020202020204" pitchFamily="34" charset="0"/>
              </a:rPr>
              <a:t>at this event time</a:t>
            </a:r>
            <a:r>
              <a:rPr lang="en-US" altLang="zh-CN" sz="1400" b="0" i="0" dirty="0">
                <a:solidFill>
                  <a:srgbClr val="0432FF"/>
                </a:solidFill>
                <a:effectLst/>
                <a:latin typeface="Arial" panose="020B0604020202020204" pitchFamily="34" charset="0"/>
              </a:rPr>
              <a:t> </a:t>
            </a:r>
            <a:endParaRPr lang="en-US" altLang="zh-CN" sz="2000" b="0" i="0" dirty="0">
              <a:solidFill>
                <a:srgbClr val="0432FF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altLang="zh-CN" sz="1400" b="0" i="0" dirty="0">
                <a:solidFill>
                  <a:srgbClr val="0432FF"/>
                </a:solidFill>
                <a:effectLst/>
                <a:latin typeface="Arial" panose="020B0604020202020204" pitchFamily="34" charset="0"/>
              </a:rPr>
              <a:t>q= probability for a potential control </a:t>
            </a:r>
            <a:r>
              <a:rPr lang="en-US" altLang="zh-CN" sz="1400" b="0" i="0" u="sng" dirty="0">
                <a:solidFill>
                  <a:srgbClr val="0432FF"/>
                </a:solidFill>
                <a:effectLst/>
                <a:latin typeface="Arial" panose="020B0604020202020204" pitchFamily="34" charset="0"/>
              </a:rPr>
              <a:t>not</a:t>
            </a:r>
            <a:r>
              <a:rPr lang="en-US" altLang="zh-CN" sz="1400" b="0" i="0" dirty="0">
                <a:solidFill>
                  <a:srgbClr val="0432FF"/>
                </a:solidFill>
                <a:effectLst/>
                <a:latin typeface="Arial" panose="020B0604020202020204" pitchFamily="34" charset="0"/>
              </a:rPr>
              <a:t> be sampled </a:t>
            </a:r>
            <a:r>
              <a:rPr lang="en-US" altLang="zh-CN" sz="1400" b="0" i="0" u="sng" dirty="0">
                <a:solidFill>
                  <a:srgbClr val="0432FF"/>
                </a:solidFill>
                <a:effectLst/>
                <a:latin typeface="Arial" panose="020B0604020202020204" pitchFamily="34" charset="0"/>
              </a:rPr>
              <a:t>at this event time </a:t>
            </a:r>
            <a:endParaRPr lang="en-US" altLang="zh-CN" sz="2000" b="0" i="0" u="sng" dirty="0">
              <a:solidFill>
                <a:srgbClr val="0432FF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altLang="zh-CN" sz="1400" b="0" i="0" dirty="0"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Q= probability for a potential control </a:t>
            </a:r>
            <a:r>
              <a:rPr lang="en-US" altLang="zh-CN" sz="1400" b="0" i="0" u="sng" dirty="0"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not</a:t>
            </a:r>
            <a:r>
              <a:rPr lang="en-US" altLang="zh-CN" sz="1400" b="0" i="0" dirty="0"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 be sampled for any </a:t>
            </a:r>
            <a:r>
              <a:rPr lang="en-US" altLang="zh-CN" sz="1400" b="0" i="0" u="sng" dirty="0"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prior event</a:t>
            </a:r>
            <a:r>
              <a:rPr lang="en-US" altLang="zh-CN" sz="1400" b="0" i="0" dirty="0"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  </a:t>
            </a:r>
            <a:endParaRPr lang="en-US" altLang="zh-CN" sz="2000" b="0" i="0" dirty="0">
              <a:solidFill>
                <a:srgbClr val="FF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altLang="zh-CN" sz="1400" b="0" i="0" dirty="0"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P*= probability for an individual sampled for the study </a:t>
            </a:r>
            <a:endParaRPr lang="en-US" altLang="zh-CN" sz="2000" b="0" i="0" dirty="0">
              <a:solidFill>
                <a:srgbClr val="FF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altLang="zh-CN" sz="1400" b="0" i="0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t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=weight </a:t>
            </a:r>
            <a:endParaRPr lang="en-US" altLang="zh-CN" sz="20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573" name="文本框 572">
            <a:extLst>
              <a:ext uri="{FF2B5EF4-FFF2-40B4-BE49-F238E27FC236}">
                <a16:creationId xmlns:a16="http://schemas.microsoft.com/office/drawing/2014/main" id="{9F726806-AE71-D1AE-B587-5FDC4040A92A}"/>
              </a:ext>
            </a:extLst>
          </p:cNvPr>
          <p:cNvSpPr txBox="1"/>
          <p:nvPr/>
        </p:nvSpPr>
        <p:spPr>
          <a:xfrm>
            <a:off x="133223" y="203879"/>
            <a:ext cx="24512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tiny_cohort</a:t>
            </a:r>
            <a:endParaRPr lang="zh-CN" alt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5" name="文本框 574">
            <a:extLst>
              <a:ext uri="{FF2B5EF4-FFF2-40B4-BE49-F238E27FC236}">
                <a16:creationId xmlns:a16="http://schemas.microsoft.com/office/drawing/2014/main" id="{AE4306AE-751A-64F4-C7F7-D1604A381C9D}"/>
              </a:ext>
            </a:extLst>
          </p:cNvPr>
          <p:cNvSpPr txBox="1"/>
          <p:nvPr/>
        </p:nvSpPr>
        <p:spPr>
          <a:xfrm>
            <a:off x="133223" y="4966970"/>
            <a:ext cx="61302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▲: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cas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 ○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:control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4238369-5DB4-184A-A393-8FBE5E802A3D}"/>
              </a:ext>
            </a:extLst>
          </p:cNvPr>
          <p:cNvCxnSpPr/>
          <p:nvPr/>
        </p:nvCxnSpPr>
        <p:spPr>
          <a:xfrm flipH="1">
            <a:off x="2377440" y="2361024"/>
            <a:ext cx="3550024" cy="0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865D421C-8F35-344B-B97B-AF1FF7F8A4ED}"/>
              </a:ext>
            </a:extLst>
          </p:cNvPr>
          <p:cNvCxnSpPr>
            <a:cxnSpLocks/>
          </p:cNvCxnSpPr>
          <p:nvPr/>
        </p:nvCxnSpPr>
        <p:spPr>
          <a:xfrm flipH="1">
            <a:off x="3364230" y="3055937"/>
            <a:ext cx="2560320" cy="0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86704A49-E14D-1348-AF02-DACEAC06796C}"/>
              </a:ext>
            </a:extLst>
          </p:cNvPr>
          <p:cNvCxnSpPr>
            <a:cxnSpLocks/>
          </p:cNvCxnSpPr>
          <p:nvPr/>
        </p:nvCxnSpPr>
        <p:spPr>
          <a:xfrm flipH="1">
            <a:off x="4744122" y="3897313"/>
            <a:ext cx="1183342" cy="0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DDD8CF96-430E-014D-B18F-5E1650968CE3}"/>
              </a:ext>
            </a:extLst>
          </p:cNvPr>
          <p:cNvCxnSpPr>
            <a:cxnSpLocks/>
          </p:cNvCxnSpPr>
          <p:nvPr/>
        </p:nvCxnSpPr>
        <p:spPr>
          <a:xfrm flipH="1">
            <a:off x="5443369" y="4395695"/>
            <a:ext cx="499765" cy="0"/>
          </a:xfrm>
          <a:prstGeom prst="straightConnector1">
            <a:avLst/>
          </a:prstGeom>
          <a:ln w="95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F59FE378-D89F-DF45-9700-AD90B22566A7}"/>
              </a:ext>
            </a:extLst>
          </p:cNvPr>
          <p:cNvCxnSpPr>
            <a:cxnSpLocks/>
          </p:cNvCxnSpPr>
          <p:nvPr/>
        </p:nvCxnSpPr>
        <p:spPr>
          <a:xfrm flipH="1">
            <a:off x="2054711" y="2214563"/>
            <a:ext cx="3872753" cy="0"/>
          </a:xfrm>
          <a:prstGeom prst="straightConnector1">
            <a:avLst/>
          </a:prstGeom>
          <a:ln w="9525">
            <a:solidFill>
              <a:srgbClr val="043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53F8DA66-3119-1243-8A59-0A3A5EED55F0}"/>
              </a:ext>
            </a:extLst>
          </p:cNvPr>
          <p:cNvCxnSpPr>
            <a:cxnSpLocks/>
          </p:cNvCxnSpPr>
          <p:nvPr/>
        </p:nvCxnSpPr>
        <p:spPr>
          <a:xfrm flipH="1">
            <a:off x="2721685" y="2654300"/>
            <a:ext cx="3202865" cy="0"/>
          </a:xfrm>
          <a:prstGeom prst="straightConnector1">
            <a:avLst/>
          </a:prstGeom>
          <a:ln w="9525">
            <a:solidFill>
              <a:srgbClr val="043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C839AEA4-CC81-DB4E-ADE5-B3DB6E79CFF3}"/>
              </a:ext>
            </a:extLst>
          </p:cNvPr>
          <p:cNvCxnSpPr>
            <a:cxnSpLocks/>
          </p:cNvCxnSpPr>
          <p:nvPr/>
        </p:nvCxnSpPr>
        <p:spPr>
          <a:xfrm flipH="1">
            <a:off x="3076687" y="2848330"/>
            <a:ext cx="2905013" cy="0"/>
          </a:xfrm>
          <a:prstGeom prst="straightConnector1">
            <a:avLst/>
          </a:prstGeom>
          <a:ln w="9525">
            <a:solidFill>
              <a:srgbClr val="043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92691897-5FA0-8047-AF86-D7B108EDAB29}"/>
              </a:ext>
            </a:extLst>
          </p:cNvPr>
          <p:cNvCxnSpPr>
            <a:cxnSpLocks/>
          </p:cNvCxnSpPr>
          <p:nvPr/>
        </p:nvCxnSpPr>
        <p:spPr>
          <a:xfrm flipH="1">
            <a:off x="4109421" y="3535363"/>
            <a:ext cx="1815130" cy="0"/>
          </a:xfrm>
          <a:prstGeom prst="straightConnector1">
            <a:avLst/>
          </a:prstGeom>
          <a:ln w="9525">
            <a:solidFill>
              <a:srgbClr val="043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D2CA6BCF-2054-7340-A842-52B8BB7FBDD9}"/>
              </a:ext>
            </a:extLst>
          </p:cNvPr>
          <p:cNvCxnSpPr>
            <a:cxnSpLocks/>
          </p:cNvCxnSpPr>
          <p:nvPr/>
        </p:nvCxnSpPr>
        <p:spPr>
          <a:xfrm flipH="1">
            <a:off x="5062538" y="4182895"/>
            <a:ext cx="907565" cy="0"/>
          </a:xfrm>
          <a:prstGeom prst="straightConnector1">
            <a:avLst/>
          </a:prstGeom>
          <a:ln w="9525">
            <a:solidFill>
              <a:srgbClr val="0432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5581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对象 62" hidden="1">
            <a:extLst>
              <a:ext uri="{FF2B5EF4-FFF2-40B4-BE49-F238E27FC236}">
                <a16:creationId xmlns:a16="http://schemas.microsoft.com/office/drawing/2014/main" id="{C7A6053A-B555-50E6-813A-11BE30ED8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121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幻灯片" r:id="rId81" imgW="532" imgH="530" progId="TCLayout.ActiveDocument.1">
                  <p:embed/>
                </p:oleObj>
              </mc:Choice>
              <mc:Fallback>
                <p:oleObj name="think-cell 幻灯片" r:id="rId81" imgW="532" imgH="530" progId="TCLayout.ActiveDocument.1">
                  <p:embed/>
                  <p:pic>
                    <p:nvPicPr>
                      <p:cNvPr id="63" name="对象 62" hidden="1">
                        <a:extLst>
                          <a:ext uri="{FF2B5EF4-FFF2-40B4-BE49-F238E27FC236}">
                            <a16:creationId xmlns:a16="http://schemas.microsoft.com/office/drawing/2014/main" id="{C7A6053A-B555-50E6-813A-11BE30ED8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55663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B5749AC-F04D-4558-9D50-68D9D738B19B}" type="datetime'''''''''1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48" name="文本占位符 2">
            <a:extLst>
              <a:ext uri="{FF2B5EF4-FFF2-40B4-BE49-F238E27FC236}">
                <a16:creationId xmlns:a16="http://schemas.microsoft.com/office/drawing/2014/main" id="{E8473AC8-FF06-824E-CB24-B8113463FAF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01738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1D52453-4507-4A06-822D-AF311C24F685}" type="datetime'''''''''''''''''''''''''''2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49" name="文本占位符 2">
            <a:extLst>
              <a:ext uri="{FF2B5EF4-FFF2-40B4-BE49-F238E27FC236}">
                <a16:creationId xmlns:a16="http://schemas.microsoft.com/office/drawing/2014/main" id="{F4A100FD-AA86-D244-710F-35D5D3E0D88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47813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BBBA29-36C0-4122-A647-9177CB3D5653}" type="datetime'''''''''''3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0" name="文本占位符 2">
            <a:extLst>
              <a:ext uri="{FF2B5EF4-FFF2-40B4-BE49-F238E27FC236}">
                <a16:creationId xmlns:a16="http://schemas.microsoft.com/office/drawing/2014/main" id="{3A2B8411-6D03-DCC8-E7B4-540B7B00F8A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93888" y="1390650"/>
            <a:ext cx="3444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012D54B-9E65-4E20-9611-A33A4D2AF266}" type="datetime'''''''''''''''''4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1" name="文本占位符 2">
            <a:extLst>
              <a:ext uri="{FF2B5EF4-FFF2-40B4-BE49-F238E27FC236}">
                <a16:creationId xmlns:a16="http://schemas.microsoft.com/office/drawing/2014/main" id="{A8C3FCBB-2365-74DD-24B6-954E659743D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238375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ABC9F78-F25D-420B-9E89-78D8ACB9CB40}" type="datetime'''''''''''''''''''''''''5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2" name="文本占位符 2">
            <a:extLst>
              <a:ext uri="{FF2B5EF4-FFF2-40B4-BE49-F238E27FC236}">
                <a16:creationId xmlns:a16="http://schemas.microsoft.com/office/drawing/2014/main" id="{D8F5AE8D-7180-F893-9A2F-5E931739820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584450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7A50914-48FE-46F8-991D-357C97456FDD}" type="datetime'''''''''6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3" name="文本占位符 2">
            <a:extLst>
              <a:ext uri="{FF2B5EF4-FFF2-40B4-BE49-F238E27FC236}">
                <a16:creationId xmlns:a16="http://schemas.microsoft.com/office/drawing/2014/main" id="{10A8AA3C-F419-9213-4B66-0E9C6418676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930525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A171754-041E-4B2B-AF18-CE930489FE93}" type="datetime'7''''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4" name="文本占位符 2">
            <a:extLst>
              <a:ext uri="{FF2B5EF4-FFF2-40B4-BE49-F238E27FC236}">
                <a16:creationId xmlns:a16="http://schemas.microsoft.com/office/drawing/2014/main" id="{4447683A-8553-0380-729F-3CA9EDA1E9D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76600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811DC6-E28D-4CF8-BA8C-450684824EA2}" type="datetime'''''''''''''''8''''''''''''''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5" name="文本占位符 2">
            <a:extLst>
              <a:ext uri="{FF2B5EF4-FFF2-40B4-BE49-F238E27FC236}">
                <a16:creationId xmlns:a16="http://schemas.microsoft.com/office/drawing/2014/main" id="{DF61B5DD-F1AE-EF89-5D71-DAF193BF40C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622675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60C6F5D-BD5D-4878-80F2-6EF9748AA058}" type="datetime'''''9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6" name="文本占位符 2">
            <a:extLst>
              <a:ext uri="{FF2B5EF4-FFF2-40B4-BE49-F238E27FC236}">
                <a16:creationId xmlns:a16="http://schemas.microsoft.com/office/drawing/2014/main" id="{22D08862-7CCA-6DE4-27BD-E010AA77D39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968750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B8CBBC2-8251-476C-BFE6-28F4F49EBBBF}" type="datetime'''''''''''''''''''''''10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7" name="文本占位符 2">
            <a:extLst>
              <a:ext uri="{FF2B5EF4-FFF2-40B4-BE49-F238E27FC236}">
                <a16:creationId xmlns:a16="http://schemas.microsoft.com/office/drawing/2014/main" id="{D2065582-F476-B514-0B9B-3D2840DF8C0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314825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3B94ABC-2F51-42F8-A590-A6918EE21255}" type="datetime'1''''''''1''''''''''''''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8" name="文本占位符 2">
            <a:extLst>
              <a:ext uri="{FF2B5EF4-FFF2-40B4-BE49-F238E27FC236}">
                <a16:creationId xmlns:a16="http://schemas.microsoft.com/office/drawing/2014/main" id="{75038147-1903-BBE4-C49F-B0AB0C84B1B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60900" y="1390650"/>
            <a:ext cx="344488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A2AF4CE-6A2A-41CC-8876-F480F75430F4}" type="datetime'1''2''''''''''''''''''''''''''''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2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9" name="文本占位符 2">
            <a:extLst>
              <a:ext uri="{FF2B5EF4-FFF2-40B4-BE49-F238E27FC236}">
                <a16:creationId xmlns:a16="http://schemas.microsoft.com/office/drawing/2014/main" id="{CFE1EB0D-BC1D-A94B-A86D-56F76274411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005388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7B5860F-81A1-44B9-9E22-4AD1D277C063}" type="datetime'''''''''''1''''3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3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0" name="文本占位符 2">
            <a:extLst>
              <a:ext uri="{FF2B5EF4-FFF2-40B4-BE49-F238E27FC236}">
                <a16:creationId xmlns:a16="http://schemas.microsoft.com/office/drawing/2014/main" id="{0BEE50F2-AA17-F78E-7CF7-1796BE9B49A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351463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61430DE-03C7-42CC-9427-AAC1AB235DE0}" type="datetime'''''''''''''''''''''''''''''14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1" name="文本占位符 2">
            <a:extLst>
              <a:ext uri="{FF2B5EF4-FFF2-40B4-BE49-F238E27FC236}">
                <a16:creationId xmlns:a16="http://schemas.microsoft.com/office/drawing/2014/main" id="{BB34B5C3-022C-840A-EEA7-3C41DD72AA7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697538" y="1390650"/>
            <a:ext cx="34607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5869575-2B35-42F2-9BE9-289BD537FDC4}" type="datetime'''''''1''''''''5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8525D073-9C67-8B7E-068D-15835320853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55663" y="1630363"/>
            <a:ext cx="0" cy="33178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E4E84DCF-B14A-DEF3-7B00-41537BBA85BA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043613" y="1630363"/>
            <a:ext cx="0" cy="33178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3B31C108-E87C-B866-1167-8CE3288141B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17475" y="1630363"/>
            <a:ext cx="0" cy="33178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5" name="直接连接符 534">
            <a:extLst>
              <a:ext uri="{FF2B5EF4-FFF2-40B4-BE49-F238E27FC236}">
                <a16:creationId xmlns:a16="http://schemas.microsoft.com/office/drawing/2014/main" id="{CC5CC0A9-1E8E-FD97-B7D3-A0E3AAFEF1B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4314825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4" name="直接连接符 533">
            <a:extLst>
              <a:ext uri="{FF2B5EF4-FFF2-40B4-BE49-F238E27FC236}">
                <a16:creationId xmlns:a16="http://schemas.microsoft.com/office/drawing/2014/main" id="{58E16A09-D7C6-ADA0-0B77-337F10794A2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893888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6" name="直接连接符 545">
            <a:extLst>
              <a:ext uri="{FF2B5EF4-FFF2-40B4-BE49-F238E27FC236}">
                <a16:creationId xmlns:a16="http://schemas.microsoft.com/office/drawing/2014/main" id="{2E7FFC54-D1CE-3F6A-ED0A-96641CC47397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5351463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3" name="直接连接符 542">
            <a:extLst>
              <a:ext uri="{FF2B5EF4-FFF2-40B4-BE49-F238E27FC236}">
                <a16:creationId xmlns:a16="http://schemas.microsoft.com/office/drawing/2014/main" id="{E0691FBD-30CE-4CBF-91C5-AAABC1EC0F67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3968750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5" name="直接连接符 544">
            <a:extLst>
              <a:ext uri="{FF2B5EF4-FFF2-40B4-BE49-F238E27FC236}">
                <a16:creationId xmlns:a16="http://schemas.microsoft.com/office/drawing/2014/main" id="{C3A861B8-7232-0F22-9309-7B5CB30311F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5005388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6" name="直接连接符 535">
            <a:extLst>
              <a:ext uri="{FF2B5EF4-FFF2-40B4-BE49-F238E27FC236}">
                <a16:creationId xmlns:a16="http://schemas.microsoft.com/office/drawing/2014/main" id="{ACD389C4-558E-3E41-23BA-1E7212528EEF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201738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0" name="直接连接符 539">
            <a:extLst>
              <a:ext uri="{FF2B5EF4-FFF2-40B4-BE49-F238E27FC236}">
                <a16:creationId xmlns:a16="http://schemas.microsoft.com/office/drawing/2014/main" id="{AB90776A-F301-809E-314B-B7CAE7344FD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930525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7" name="直接连接符 536">
            <a:extLst>
              <a:ext uri="{FF2B5EF4-FFF2-40B4-BE49-F238E27FC236}">
                <a16:creationId xmlns:a16="http://schemas.microsoft.com/office/drawing/2014/main" id="{DBFD1A8C-6090-054B-3498-DC442013C55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547813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1" name="直接连接符 540">
            <a:extLst>
              <a:ext uri="{FF2B5EF4-FFF2-40B4-BE49-F238E27FC236}">
                <a16:creationId xmlns:a16="http://schemas.microsoft.com/office/drawing/2014/main" id="{FB9AB908-6307-5430-F59B-47E720F5CC98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3276600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2" name="直接连接符 541">
            <a:extLst>
              <a:ext uri="{FF2B5EF4-FFF2-40B4-BE49-F238E27FC236}">
                <a16:creationId xmlns:a16="http://schemas.microsoft.com/office/drawing/2014/main" id="{A6C6E7EC-393D-8F36-2538-822E9B9EDDFF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622675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7" name="直接连接符 546">
            <a:extLst>
              <a:ext uri="{FF2B5EF4-FFF2-40B4-BE49-F238E27FC236}">
                <a16:creationId xmlns:a16="http://schemas.microsoft.com/office/drawing/2014/main" id="{6A2026F8-D50D-CEF9-0E22-7FF82A239DC4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5697538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8" name="直接连接符 537">
            <a:extLst>
              <a:ext uri="{FF2B5EF4-FFF2-40B4-BE49-F238E27FC236}">
                <a16:creationId xmlns:a16="http://schemas.microsoft.com/office/drawing/2014/main" id="{234E37AA-ED89-F0C3-7F31-A5AD6DD814ED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2238375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4" name="直接连接符 543">
            <a:extLst>
              <a:ext uri="{FF2B5EF4-FFF2-40B4-BE49-F238E27FC236}">
                <a16:creationId xmlns:a16="http://schemas.microsoft.com/office/drawing/2014/main" id="{8EDACBEE-A08E-405A-5FDD-461A5015C157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4660900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9" name="直接连接符 538">
            <a:extLst>
              <a:ext uri="{FF2B5EF4-FFF2-40B4-BE49-F238E27FC236}">
                <a16:creationId xmlns:a16="http://schemas.microsoft.com/office/drawing/2014/main" id="{17893681-68EC-33B0-9377-9706CCECA8DD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2584450" y="1630363"/>
            <a:ext cx="0" cy="33178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03BD0E21-B0C3-60B5-83A5-CC0132662360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17475" y="4948238"/>
            <a:ext cx="59261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7F45AFAA-9310-BFFA-ADE7-415FF32F1DE1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117475" y="1630363"/>
            <a:ext cx="59261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2" name="矩形 161">
            <a:extLst>
              <a:ext uri="{FF2B5EF4-FFF2-40B4-BE49-F238E27FC236}">
                <a16:creationId xmlns:a16="http://schemas.microsoft.com/office/drawing/2014/main" id="{0B111DCD-40E2-B4D5-2B61-4F38971B179D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860425" y="1693863"/>
            <a:ext cx="341313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24" name="矩形 523">
            <a:extLst>
              <a:ext uri="{FF2B5EF4-FFF2-40B4-BE49-F238E27FC236}">
                <a16:creationId xmlns:a16="http://schemas.microsoft.com/office/drawing/2014/main" id="{505D604C-475C-1D20-0346-EC1DE4AA0B99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860425" y="4116388"/>
            <a:ext cx="4144963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22" name="矩形 521">
            <a:extLst>
              <a:ext uri="{FF2B5EF4-FFF2-40B4-BE49-F238E27FC236}">
                <a16:creationId xmlns:a16="http://schemas.microsoft.com/office/drawing/2014/main" id="{718B6B11-7801-707E-2629-60AEC47C72EA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860426" y="3676650"/>
            <a:ext cx="310832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15" name="矩形 514">
            <a:extLst>
              <a:ext uri="{FF2B5EF4-FFF2-40B4-BE49-F238E27FC236}">
                <a16:creationId xmlns:a16="http://schemas.microsoft.com/office/drawing/2014/main" id="{E803C796-BA31-0B48-FB04-9927A7A52C1C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860425" y="2355850"/>
            <a:ext cx="1377950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27" name="矩形 526">
            <a:extLst>
              <a:ext uri="{FF2B5EF4-FFF2-40B4-BE49-F238E27FC236}">
                <a16:creationId xmlns:a16="http://schemas.microsoft.com/office/drawing/2014/main" id="{E20CE36A-CB2B-B4A2-31A7-A8EAD6B94814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860425" y="4778375"/>
            <a:ext cx="517842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17" name="矩形 516">
            <a:extLst>
              <a:ext uri="{FF2B5EF4-FFF2-40B4-BE49-F238E27FC236}">
                <a16:creationId xmlns:a16="http://schemas.microsoft.com/office/drawing/2014/main" id="{51EE76DE-B6C3-1583-1FE7-4D5CC2446EAA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860426" y="2795588"/>
            <a:ext cx="172402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18" name="矩形 517">
            <a:extLst>
              <a:ext uri="{FF2B5EF4-FFF2-40B4-BE49-F238E27FC236}">
                <a16:creationId xmlns:a16="http://schemas.microsoft.com/office/drawing/2014/main" id="{7E4DE95F-DDF5-5085-5DC6-24A3505BF7D9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860425" y="3016250"/>
            <a:ext cx="241617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19" name="矩形 518">
            <a:extLst>
              <a:ext uri="{FF2B5EF4-FFF2-40B4-BE49-F238E27FC236}">
                <a16:creationId xmlns:a16="http://schemas.microsoft.com/office/drawing/2014/main" id="{24D34457-07E5-7E60-9CA2-1F34723E1FD4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860425" y="3236913"/>
            <a:ext cx="2762250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25" name="矩形 524">
            <a:extLst>
              <a:ext uri="{FF2B5EF4-FFF2-40B4-BE49-F238E27FC236}">
                <a16:creationId xmlns:a16="http://schemas.microsoft.com/office/drawing/2014/main" id="{3054AFFC-4C34-E87C-1B0D-61190597A3BF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860425" y="4337050"/>
            <a:ext cx="4491038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3" name="矩形 162">
            <a:extLst>
              <a:ext uri="{FF2B5EF4-FFF2-40B4-BE49-F238E27FC236}">
                <a16:creationId xmlns:a16="http://schemas.microsoft.com/office/drawing/2014/main" id="{629E4DD8-D281-E585-C32C-915C0E6D77A4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60425" y="1914525"/>
            <a:ext cx="687388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23" name="矩形 522">
            <a:extLst>
              <a:ext uri="{FF2B5EF4-FFF2-40B4-BE49-F238E27FC236}">
                <a16:creationId xmlns:a16="http://schemas.microsoft.com/office/drawing/2014/main" id="{9AE25E49-0032-1BA3-18DB-64B3142C5F83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860425" y="3897313"/>
            <a:ext cx="380047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16" name="矩形 515">
            <a:extLst>
              <a:ext uri="{FF2B5EF4-FFF2-40B4-BE49-F238E27FC236}">
                <a16:creationId xmlns:a16="http://schemas.microsoft.com/office/drawing/2014/main" id="{AE156003-6C37-3BE2-AEB8-C8DF8DA66DB2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860425" y="2574925"/>
            <a:ext cx="172402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20" name="矩形 519">
            <a:extLst>
              <a:ext uri="{FF2B5EF4-FFF2-40B4-BE49-F238E27FC236}">
                <a16:creationId xmlns:a16="http://schemas.microsoft.com/office/drawing/2014/main" id="{7AAA96D8-26F9-8744-2F82-3B0E17A7CF99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860425" y="3455988"/>
            <a:ext cx="3108325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26" name="矩形 525">
            <a:extLst>
              <a:ext uri="{FF2B5EF4-FFF2-40B4-BE49-F238E27FC236}">
                <a16:creationId xmlns:a16="http://schemas.microsoft.com/office/drawing/2014/main" id="{97FF0D49-485D-2A7D-F9D6-C7521F79C72A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860425" y="4557713"/>
            <a:ext cx="4837113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14" name="矩形 513">
            <a:extLst>
              <a:ext uri="{FF2B5EF4-FFF2-40B4-BE49-F238E27FC236}">
                <a16:creationId xmlns:a16="http://schemas.microsoft.com/office/drawing/2014/main" id="{E89D3EA9-7CC5-67FD-3E58-47F15F6AC2B6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860426" y="2135188"/>
            <a:ext cx="1033463" cy="79375"/>
          </a:xfrm>
          <a:prstGeom prst="rect">
            <a:avLst/>
          </a:prstGeom>
          <a:solidFill>
            <a:srgbClr val="9DB1CF"/>
          </a:solidFill>
          <a:ln w="19050" cap="flat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8" name="等腰三角形 557">
            <a:extLst>
              <a:ext uri="{FF2B5EF4-FFF2-40B4-BE49-F238E27FC236}">
                <a16:creationId xmlns:a16="http://schemas.microsoft.com/office/drawing/2014/main" id="{A56D444F-ABD0-44DC-EBC3-DE10E278F4E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3911600" y="34385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3" name="椭圆 562">
            <a:extLst>
              <a:ext uri="{FF2B5EF4-FFF2-40B4-BE49-F238E27FC236}">
                <a16:creationId xmlns:a16="http://schemas.microsoft.com/office/drawing/2014/main" id="{61780CC2-88FC-93F6-3F56-D8B801E16ED5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3911600" y="3879850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4" name="等腰三角形 163">
            <a:extLst>
              <a:ext uri="{FF2B5EF4-FFF2-40B4-BE49-F238E27FC236}">
                <a16:creationId xmlns:a16="http://schemas.microsoft.com/office/drawing/2014/main" id="{2E7EE831-7CE2-A75D-5081-6F72CDFC5FE6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1836738" y="21177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0" name="等腰三角形 559">
            <a:extLst>
              <a:ext uri="{FF2B5EF4-FFF2-40B4-BE49-F238E27FC236}">
                <a16:creationId xmlns:a16="http://schemas.microsoft.com/office/drawing/2014/main" id="{1A0A61C3-2D34-BBF1-76D9-0D3FC31747CC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4948238" y="40989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7" name="等腰三角形 556">
            <a:extLst>
              <a:ext uri="{FF2B5EF4-FFF2-40B4-BE49-F238E27FC236}">
                <a16:creationId xmlns:a16="http://schemas.microsoft.com/office/drawing/2014/main" id="{A5D5CE71-1329-1BDD-2DB1-A9942A48C694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2527300" y="2778125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1" name="椭圆 560">
            <a:extLst>
              <a:ext uri="{FF2B5EF4-FFF2-40B4-BE49-F238E27FC236}">
                <a16:creationId xmlns:a16="http://schemas.microsoft.com/office/drawing/2014/main" id="{BB534688-2E5C-5312-42A4-E542C94C441C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4948238" y="4540250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5" name="椭圆 164">
            <a:extLst>
              <a:ext uri="{FF2B5EF4-FFF2-40B4-BE49-F238E27FC236}">
                <a16:creationId xmlns:a16="http://schemas.microsoft.com/office/drawing/2014/main" id="{4592A0CE-F286-48CE-A26B-C719EFAA06BF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1836738" y="2338388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2" name="椭圆 561">
            <a:extLst>
              <a:ext uri="{FF2B5EF4-FFF2-40B4-BE49-F238E27FC236}">
                <a16:creationId xmlns:a16="http://schemas.microsoft.com/office/drawing/2014/main" id="{2F17E0C7-49C3-C903-DC8D-7B30AE2F5EF5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3911600" y="4319588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9" name="等腰三角形 558">
            <a:extLst>
              <a:ext uri="{FF2B5EF4-FFF2-40B4-BE49-F238E27FC236}">
                <a16:creationId xmlns:a16="http://schemas.microsoft.com/office/drawing/2014/main" id="{6B04FE17-EA98-A633-5E1C-7C9821D68443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3911600" y="3659188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5" name="椭圆 564">
            <a:extLst>
              <a:ext uri="{FF2B5EF4-FFF2-40B4-BE49-F238E27FC236}">
                <a16:creationId xmlns:a16="http://schemas.microsoft.com/office/drawing/2014/main" id="{611C962A-71CB-51FA-23A0-D99F08A6C94C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2527300" y="2998788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56" name="等腰三角形 555">
            <a:extLst>
              <a:ext uri="{FF2B5EF4-FFF2-40B4-BE49-F238E27FC236}">
                <a16:creationId xmlns:a16="http://schemas.microsoft.com/office/drawing/2014/main" id="{A0953E10-4E00-A0A7-34E4-0445FC18D159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2527300" y="2557463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65FB7307-F9A9-D52A-06EF-A0786F186AF0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2527300" y="3438525"/>
            <a:ext cx="114300" cy="1143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4" name="文本占位符 2">
            <a:extLst>
              <a:ext uri="{FF2B5EF4-FFF2-40B4-BE49-F238E27FC236}">
                <a16:creationId xmlns:a16="http://schemas.microsoft.com/office/drawing/2014/main" id="{C1D2FE9F-6DB5-2F6B-1ABA-19E1005C64F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88913" y="363378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8216387-D216-4A7E-9F47-0DEAC040F1D5}" type="datetime'''''''1''''''0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C30C3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5" name="文本占位符 2">
            <a:extLst>
              <a:ext uri="{FF2B5EF4-FFF2-40B4-BE49-F238E27FC236}">
                <a16:creationId xmlns:a16="http://schemas.microsoft.com/office/drawing/2014/main" id="{BA6BC848-BDFF-961B-41EC-876F0F75C4C7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88913" y="385445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47DBBDA-ABD1-41BF-B472-AC673EA5C6D4}" type="datetime'''1''''''''''''''''''''''''''''''''''''''''''''1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6" name="文本占位符 2">
            <a:extLst>
              <a:ext uri="{FF2B5EF4-FFF2-40B4-BE49-F238E27FC236}">
                <a16:creationId xmlns:a16="http://schemas.microsoft.com/office/drawing/2014/main" id="{817183B4-B475-46AE-82F5-84DF2DFFA18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88913" y="4073525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5431D86-3A78-4CA7-BAC1-371EEE5AD750}" type="datetime'''''''''''''''''''1''''''''''''''''2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C30C3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2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7" name="文本占位符 2">
            <a:extLst>
              <a:ext uri="{FF2B5EF4-FFF2-40B4-BE49-F238E27FC236}">
                <a16:creationId xmlns:a16="http://schemas.microsoft.com/office/drawing/2014/main" id="{7D90B903-92AF-773B-8996-0853BD3D6B86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88913" y="4294188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68F503F-A56E-4BC5-9B98-796373E7A50A}" type="datetime'1''''''''''''''''''''''''''''''3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3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88913" y="1871663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BA3B9A0-E817-44A6-951E-458EF37B4878}" type="datetime'''''''''''''''''''''''''''''''''''''''2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8" name="文本占位符 2">
            <a:extLst>
              <a:ext uri="{FF2B5EF4-FFF2-40B4-BE49-F238E27FC236}">
                <a16:creationId xmlns:a16="http://schemas.microsoft.com/office/drawing/2014/main" id="{9B0764E3-B685-E5FE-664B-196828ED0E3A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88913" y="4514850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DF09680-1342-458A-ABB5-CC59FFCDDBE7}" type="datetime'''''''''''14''''''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0" name="文本占位符 2">
            <a:extLst>
              <a:ext uri="{FF2B5EF4-FFF2-40B4-BE49-F238E27FC236}">
                <a16:creationId xmlns:a16="http://schemas.microsoft.com/office/drawing/2014/main" id="{F6181E6C-AF4D-C47E-696C-97D2C7ADF3F1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88913" y="4735513"/>
            <a:ext cx="187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802B738-5F52-4704-B6DD-9E6F79514CED}" type="datetime'''''1''5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88913" y="165100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EC656F0-1041-487A-9AEC-9A28EAAFA03F}" type="datetime'''''''''''''''''''''''''''''''''''''''''''''''''1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88913" y="1414463"/>
            <a:ext cx="595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ID/year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88913" y="2312988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64C7105-0040-4BFC-9CC4-EE9B8829673A}" type="datetime'''''4''''''''''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88913" y="27527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A104630-F728-43BE-A004-89C43A0523A7}" type="datetime'''''''''''''''6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C30C3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93" name="文本占位符 2">
            <a:extLst>
              <a:ext uri="{FF2B5EF4-FFF2-40B4-BE49-F238E27FC236}">
                <a16:creationId xmlns:a16="http://schemas.microsoft.com/office/drawing/2014/main" id="{A4A67E8E-5496-4711-2F5E-5C2E59072E2F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188912" y="3413125"/>
            <a:ext cx="166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323F595-83E1-44A6-B3DB-8D3A585C26A8}" type="datetime'''''''''9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C30C3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C30C3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*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188913" y="2092325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C9850E5-8952-4395-A62E-5D94EFA77671}" type="datetime'''''''''''''''''''''''''''''''''''3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C30C3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15F5CB63-65DA-FF0F-740A-2F21CA0384FD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188913" y="2532063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A1E8B7-CDCC-425F-85E7-296F50A9471B}" type="datetime'''''''''''''''5''''''''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C30C3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2" name="文本占位符 2">
            <a:extLst>
              <a:ext uri="{FF2B5EF4-FFF2-40B4-BE49-F238E27FC236}">
                <a16:creationId xmlns:a16="http://schemas.microsoft.com/office/drawing/2014/main" id="{1807E021-5DD5-4EB5-6F0D-E7E14FE4B1C6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188913" y="3194050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18AFC0-9358-4690-B471-F809F3433824}" type="datetime'''''''''''8''''''''''''''''''''''''''''''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4" name="文本占位符 2">
            <a:extLst>
              <a:ext uri="{FF2B5EF4-FFF2-40B4-BE49-F238E27FC236}">
                <a16:creationId xmlns:a16="http://schemas.microsoft.com/office/drawing/2014/main" id="{49D3A8D5-B31B-E8B0-F628-71E3979A7DEA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188913" y="2973388"/>
            <a:ext cx="936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4AD1ABA-D187-494D-95BC-8DD603CD806A}" type="datetime'''''''''''''''7'''''''''''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</a:t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graphicFrame>
        <p:nvGraphicFramePr>
          <p:cNvPr id="512" name="对象 511">
            <a:extLst>
              <a:ext uri="{FF2B5EF4-FFF2-40B4-BE49-F238E27FC236}">
                <a16:creationId xmlns:a16="http://schemas.microsoft.com/office/drawing/2014/main" id="{171409B3-1C50-9738-C6A6-1035794DDFB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19752081"/>
              </p:ext>
            </p:extLst>
          </p:nvPr>
        </p:nvGraphicFramePr>
        <p:xfrm>
          <a:off x="5870575" y="1198563"/>
          <a:ext cx="6267450" cy="4375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Document" r:id="rId83" imgW="11798300" imgH="7162800" progId="Word.Document.12">
                  <p:embed/>
                </p:oleObj>
              </mc:Choice>
              <mc:Fallback>
                <p:oleObj name="Document" r:id="rId83" imgW="11798300" imgH="7162800" progId="Word.Document.12">
                  <p:embed/>
                  <p:pic>
                    <p:nvPicPr>
                      <p:cNvPr id="512" name="对象 511">
                        <a:extLst>
                          <a:ext uri="{FF2B5EF4-FFF2-40B4-BE49-F238E27FC236}">
                            <a16:creationId xmlns:a16="http://schemas.microsoft.com/office/drawing/2014/main" id="{171409B3-1C50-9738-C6A6-1035794DDF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5870575" y="1198563"/>
                        <a:ext cx="6267450" cy="43751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" name="文本框 569">
            <a:extLst>
              <a:ext uri="{FF2B5EF4-FFF2-40B4-BE49-F238E27FC236}">
                <a16:creationId xmlns:a16="http://schemas.microsoft.com/office/drawing/2014/main" id="{842D623A-6A67-7122-A25A-CEFDC60819D7}"/>
              </a:ext>
            </a:extLst>
          </p:cNvPr>
          <p:cNvSpPr txBox="1"/>
          <p:nvPr/>
        </p:nvSpPr>
        <p:spPr>
          <a:xfrm>
            <a:off x="3622675" y="5360986"/>
            <a:ext cx="612648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p=probability for any of the potential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control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 to be sampled at this event time 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q= probability for a potential control not be sampled at this event time 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Q= probability for a potential control not be sampled for any prior event  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P*= probability for an individual sampled for the study 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Wt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=weight </a:t>
            </a:r>
            <a:endParaRPr kumimoji="0" lang="en-US" altLang="zh-CN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15E13072-A4F2-A3F8-B917-94A07B5270D3}"/>
              </a:ext>
            </a:extLst>
          </p:cNvPr>
          <p:cNvSpPr txBox="1"/>
          <p:nvPr/>
        </p:nvSpPr>
        <p:spPr>
          <a:xfrm>
            <a:off x="133223" y="203879"/>
            <a:ext cx="24512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>
                <a:latin typeface="Arial" panose="020B0604020202020204" pitchFamily="34" charset="0"/>
                <a:cs typeface="Arial" panose="020B0604020202020204" pitchFamily="34" charset="0"/>
              </a:rPr>
              <a:t>tiny_cohort2</a:t>
            </a:r>
            <a:endParaRPr lang="zh-CN" alt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0FE257E0-DF9C-A39D-34ED-3645E2445F9C}"/>
              </a:ext>
            </a:extLst>
          </p:cNvPr>
          <p:cNvSpPr txBox="1"/>
          <p:nvPr/>
        </p:nvSpPr>
        <p:spPr>
          <a:xfrm>
            <a:off x="117475" y="4996498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▲: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case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 ○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等线" panose="02010600030101010101" pitchFamily="2" charset="-122"/>
                <a:cs typeface="+mn-cs"/>
              </a:rPr>
              <a:t>:control</a:t>
            </a:r>
          </a:p>
        </p:txBody>
      </p:sp>
    </p:spTree>
    <p:extLst>
      <p:ext uri="{BB962C8B-B14F-4D97-AF65-F5344CB8AC3E}">
        <p14:creationId xmlns:p14="http://schemas.microsoft.com/office/powerpoint/2010/main" val="9262901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DB31222-FBD8-284F-8EF6-F4BE1404722F}"/>
              </a:ext>
            </a:extLst>
          </p:cNvPr>
          <p:cNvSpPr/>
          <p:nvPr/>
        </p:nvSpPr>
        <p:spPr>
          <a:xfrm>
            <a:off x="584499" y="493161"/>
            <a:ext cx="7849496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SG" dirty="0">
                <a:latin typeface="ArialMT"/>
              </a:rPr>
              <a:t>The line-plot on the next page represents the data in “</a:t>
            </a:r>
            <a:r>
              <a:rPr lang="en-SG" b="1" dirty="0" err="1">
                <a:latin typeface="Arial" panose="020B0604020202020204" pitchFamily="34" charset="0"/>
              </a:rPr>
              <a:t>tiny_cohort.dta</a:t>
            </a:r>
            <a:r>
              <a:rPr lang="en-SG" dirty="0">
                <a:latin typeface="ArialMT"/>
              </a:rPr>
              <a:t>” arranged by follow-up time, with a potential 1:1 NCC sample. </a:t>
            </a:r>
          </a:p>
          <a:p>
            <a:endParaRPr lang="en-SG" dirty="0">
              <a:latin typeface="ArialMT"/>
            </a:endParaRPr>
          </a:p>
          <a:p>
            <a:r>
              <a:rPr lang="en-SG" dirty="0">
                <a:latin typeface="ArialMT"/>
              </a:rPr>
              <a:t>The “*” indicates an event and “o” indicates an individual chosen as control (denoted by the indicator variable “chosen” in the data set. </a:t>
            </a:r>
            <a:r>
              <a:rPr lang="en-SG" i="1" dirty="0">
                <a:latin typeface="Arial" panose="020B0604020202020204" pitchFamily="34" charset="0"/>
              </a:rPr>
              <a:t>For each event time </a:t>
            </a:r>
            <a:r>
              <a:rPr lang="en-SG" dirty="0">
                <a:latin typeface="ArialMT"/>
              </a:rPr>
              <a:t>(i.e. the grey rows 3,5,6, 9,10,12), complete the following columns for the table on the right of the plot: </a:t>
            </a:r>
            <a:endParaRPr lang="en-SG" dirty="0"/>
          </a:p>
          <a:p>
            <a:r>
              <a:rPr lang="en-SG" b="1" dirty="0">
                <a:latin typeface="Arial" panose="020B0604020202020204" pitchFamily="34" charset="0"/>
              </a:rPr>
              <a:t>p</a:t>
            </a:r>
            <a:r>
              <a:rPr lang="en-SG" dirty="0">
                <a:latin typeface="ArialMT"/>
              </a:rPr>
              <a:t>=probability the potential control is sampled at this event time</a:t>
            </a:r>
            <a:br>
              <a:rPr lang="en-SG" dirty="0">
                <a:latin typeface="ArialMT"/>
              </a:rPr>
            </a:br>
            <a:r>
              <a:rPr lang="en-SG" b="1" dirty="0">
                <a:latin typeface="Arial" panose="020B0604020202020204" pitchFamily="34" charset="0"/>
              </a:rPr>
              <a:t>q</a:t>
            </a:r>
            <a:r>
              <a:rPr lang="en-SG" dirty="0">
                <a:latin typeface="ArialMT"/>
              </a:rPr>
              <a:t>= probability the potential control is not sampled at this event time </a:t>
            </a:r>
            <a:endParaRPr lang="en-SG" dirty="0"/>
          </a:p>
          <a:p>
            <a:endParaRPr lang="en-SG" dirty="0">
              <a:latin typeface="ArialMT"/>
            </a:endParaRPr>
          </a:p>
          <a:p>
            <a:r>
              <a:rPr lang="en-SG" dirty="0">
                <a:latin typeface="ArialMT"/>
              </a:rPr>
              <a:t>Using these values, complete the following columns for each potential control (</a:t>
            </a:r>
            <a:r>
              <a:rPr lang="en-SG" dirty="0" err="1">
                <a:latin typeface="ArialMT"/>
              </a:rPr>
              <a:t>i.e</a:t>
            </a:r>
            <a:r>
              <a:rPr lang="en-SG" dirty="0">
                <a:latin typeface="ArialMT"/>
              </a:rPr>
              <a:t> the remaining rows of the table): </a:t>
            </a:r>
            <a:endParaRPr lang="en-SG" dirty="0"/>
          </a:p>
          <a:p>
            <a:endParaRPr lang="en-SG" b="1" dirty="0">
              <a:latin typeface="Arial" panose="020B0604020202020204" pitchFamily="34" charset="0"/>
            </a:endParaRPr>
          </a:p>
          <a:p>
            <a:r>
              <a:rPr lang="en-SG" b="1" dirty="0">
                <a:latin typeface="Arial" panose="020B0604020202020204" pitchFamily="34" charset="0"/>
              </a:rPr>
              <a:t>Q</a:t>
            </a:r>
            <a:r>
              <a:rPr lang="en-SG" dirty="0">
                <a:latin typeface="ArialMT"/>
              </a:rPr>
              <a:t>= probability the potential control is not sampled for any event </a:t>
            </a:r>
          </a:p>
          <a:p>
            <a:r>
              <a:rPr lang="en-SG" b="1" dirty="0">
                <a:latin typeface="Arial" panose="020B0604020202020204" pitchFamily="34" charset="0"/>
              </a:rPr>
              <a:t>P*</a:t>
            </a:r>
            <a:r>
              <a:rPr lang="en-SG" dirty="0">
                <a:latin typeface="ArialMT"/>
              </a:rPr>
              <a:t>= probability the individual is sampled for the study </a:t>
            </a:r>
          </a:p>
          <a:p>
            <a:r>
              <a:rPr lang="en-SG" b="1" dirty="0" err="1">
                <a:latin typeface="Arial" panose="020B0604020202020204" pitchFamily="34" charset="0"/>
              </a:rPr>
              <a:t>Wt</a:t>
            </a:r>
            <a:r>
              <a:rPr lang="en-SG" dirty="0">
                <a:latin typeface="ArialMT"/>
              </a:rPr>
              <a:t>=weight </a:t>
            </a:r>
          </a:p>
          <a:p>
            <a:endParaRPr lang="en-SG" dirty="0"/>
          </a:p>
          <a:p>
            <a:r>
              <a:rPr lang="en-SG" dirty="0">
                <a:latin typeface="ArialMT"/>
              </a:rPr>
              <a:t>(</a:t>
            </a:r>
            <a:r>
              <a:rPr lang="en-SG" dirty="0" err="1">
                <a:latin typeface="ArialMT"/>
              </a:rPr>
              <a:t>i</a:t>
            </a:r>
            <a:r>
              <a:rPr lang="en-SG" dirty="0">
                <a:latin typeface="ArialMT"/>
              </a:rPr>
              <a:t>) Compare your weights in (</a:t>
            </a:r>
            <a:r>
              <a:rPr lang="en-SG" dirty="0" err="1">
                <a:latin typeface="ArialMT"/>
              </a:rPr>
              <a:t>i</a:t>
            </a:r>
            <a:r>
              <a:rPr lang="en-SG" dirty="0">
                <a:latin typeface="ArialMT"/>
              </a:rPr>
              <a:t>) to the weights obtained from the appropriate software command (</a:t>
            </a:r>
            <a:r>
              <a:rPr lang="en-SG" i="1" dirty="0">
                <a:latin typeface="Arial" panose="020B0604020202020204" pitchFamily="34" charset="0"/>
              </a:rPr>
              <a:t>see the hints at the end of this docum</a:t>
            </a:r>
            <a:r>
              <a:rPr lang="en-SG" dirty="0">
                <a:latin typeface="ArialMT"/>
              </a:rPr>
              <a:t>ent). </a:t>
            </a:r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9518893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0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JOWyEBu01saZSlbuK1g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cssKCeaMAsoGfoFeLp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8aNzDfzwSsomM18GM0t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YxxV8nwaeU9lFQp5RTJ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BlXUks2yhABtU11aXLz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J2neQknv53cYTy1.fKC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krq.5XjUL3FBdmbDi9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bkB6Fy8ul2C4aqgS9U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rSxDdmtVK1Yv_fqRtn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xaW0q.ZOE8O7QwoVXa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dWGBYDQHcMcj5rW8QZ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W4yke5lpMSYB7galkvt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5Dvip6Af.j37WKr415f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X4CXKKKFGQXIzeudaJL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_1zfoNlyo91KdwA14yl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sgf1nqs.f3cokPWJYOb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D395OFRPkE5zOGtzhQ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cWZFVVvGofdmE9HoJ02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TwA1rEhOc930AN9dUyq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AlTIVqJ5GA0YrXkfdLq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WuaUh5GU2RaEIKOGzY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K7eYct3M9aUvLhOM.u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TW5exOn25SWTAlva6ar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Mpwk8i5K1UBH7mUKDzU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ruvgRpTNM_ZRrd2KaSh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o528BaOc_KFobOmkS_9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93UDR7g3XTpNYX3a8o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IF9QeZ7YfO1Q0q_sOc7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pewsKE5RxoWSlQfU3b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t356fB76fYs_wyZJ5MT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.coWasWdnBNLDAxg8q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UWcDWmFAsuVT7_TGXD8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0McqAiEpcy30AxzguL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65FLvPFKkx2Ka1Og97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zwfTk_E2HapBGtNXHS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vykr.mtkdVneN3CyijK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yy4s4mDv1MSrbflkPBs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Cd2gngF8oEX9x32SE5Z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QfBWXZYtzuv6lMIxcb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csiVS7lp.C_1rVcCcEE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Cx7arEvoKi4J1WFEHpc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R2vR73ac2Dug8PmxPm4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xmgQMVOOg0sFeZrq9Jo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iTsze56tM8D0G5ctXr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96V8XdjOHT2TVD50gMI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nRLdLVBEEn4776g4u.W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OKO2pcdp0twWfQacSri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0nyUQC0MMQeBWm5kEKk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bim5fG6tXuCGbJntqWm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LMQnkrtSYw4VSY6pOm6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TuoLnR45JnfhiUHaz_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5FQebEN8kjjzPdN9Dsy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zZy98LxYKhYtk5_jidK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R0iXk8qczyT.44GktW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8Hb3meZ5U1FOcpnlQZ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bS3yTScPpJnQLXKs0_v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bEGSPvOkKs_iCwkhkpD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ri0Jo6k5jKMGoZHx6Xk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IkIMpa9VZgHoJptCR8H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tGBjdCw_5lesQ0dkihS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0Ih0U3cGIdmLUUmvcUP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AaVK9dGFR5MMAAarFpE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Qhthpd6CWUDOKme3CAk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qLYu4qHFoUsTUzb3BOB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Yo1vbobTkUhrHvDQc81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kC9oxUPFhOOasZPj3S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eeejqefqYE_JTYiNY1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viwlOn7Fs1ht0BqTo4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8aNzDfzwSsomM18GM0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oSAdAai0X3vMpcz7W18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cssKCeaMAsoGfoFeLp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wc_tazjcLMS2eQJAdV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r39hs5Ni7ujSbak0C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xaW0q.ZOE8O7QwoVX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sgf1nqs.f3cokPWJYO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5Dvip6Af.j37WKr415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BlXUks2yhABtU11aXL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X4CXKKKFGQXIzeudaJ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dWGBYDQHcMcj5rW8QZ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bkB6Fy8ul2C4aqgS9U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krq.5XjUL3FBdmbDi9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prSxDdmtVK1Yv_fqRt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_1zfoNlyo91KdwA14y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J2neQknv53cYTy1.fKC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YxxV8nwaeU9lFQp5RT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D395OFRPkE5zOGtzh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cWZFVVvGofdmE9HoJ02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TwA1rEhOc930AN9dUy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ruvgRpTNM_ZRrd2KaS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W1EOlNRlz9tS9r8rFw_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IF9QeZ7YfO1Q0q_sOc7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WuaUh5GU2RaEIKOGzY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Mpwk8i5K1UBH7mUKDz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zwfTk_E2HapBGtNXH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pewsKE5RxoWSlQfU3b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UWcDWmFAsuVT7_TGXD8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K7eYct3M9aUvLhOM.ut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0McqAiEpcy30AxzguL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o528BaOc_KFobOmkS_9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93UDR7g3XTpNYX3a8o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ps8EaJ_oh02IwEXmvA6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.coWasWdnBNLDAxg8q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AlTIVqJ5GA0YrXkfdL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t356fB76fYs_wyZJ5M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vykr.mtkdVneN3Cyij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OKO2pcdp0twWfQacSri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Cd2gngF8oEX9x32SE5Z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csiVS7lp.C_1rVcCcE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R2vR73ac2Dug8PmxPm4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iTsze56tM8D0G5ctXr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QfBWXZYtzuv6lMIxcb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T5NOpLI20gsfN8ktatr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Cx7arEvoKi4J1WFEHp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xmgQMVOOg0sFeZrq9J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yy4s4mDv1MSrbflkPB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nRLdLVBEEn4776g4u.W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iz8R1rBbj6pJpkm3v2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bim5fG6tXuCGbJntqW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0Ih0U3cGIdmLUUmvcUP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zZy98LxYKhYtk5_jid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R0iXk8qczyT.44GktW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bEGSPvOkKs_iCwkhkp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s5fYC.7Dx8w18m_XkDx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TuoLnR45JnfhiUHaz_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ri0Jo6k5jKMGoZHx6X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tGBjdCw_5lesQ0dkih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5FQebEN8kjjzPdN9Dsy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LMQnkrtSYw4VSY6pOm6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Yo1vbobTkUhrHvDQc81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8Hb3meZ5U1FOcpnlQZ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qLYu4qHFoUsTUzb3BOB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Qhthpd6CWUDOKme3CA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IkIMpa9VZgHoJptCR8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8NjjneOXfAmcKHcFv3b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AaVK9dGFR5MMAAarFp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W1EOlNRlz9tS9r8rFw_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ps8EaJ_oh02IwEXmvA6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T5NOpLI20gsfN8ktatr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s5fYC.7Dx8w18m_XkD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8NjjneOXfAmcKHcFv3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XWL0UKGvt3DrInTjw4Q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JOWyEBu01saZSlbuK1g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W4yke5lpMSYB7galkv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XWL0UKGvt3DrInTjw4Q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TW5exOn25SWTAlva6a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Q65FLvPFKkx2Ka1Og97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96V8XdjOHT2TVD50gMI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bS3yTScPpJnQLXKs0_v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kC9oxUPFhOOasZPj3S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eeejqefqYE_JTYiNY1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viwlOn7Fs1ht0BqTo4W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wc_tazjcLMS2eQJAdV7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oSAdAai0X3vMpcz7W18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r39hs5Ni7ujSbak0Ct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63</TotalTime>
  <Words>404</Words>
  <Application>Microsoft Macintosh PowerPoint</Application>
  <PresentationFormat>Widescreen</PresentationFormat>
  <Paragraphs>88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MT</vt:lpstr>
      <vt:lpstr>等线</vt:lpstr>
      <vt:lpstr>等线 Light</vt:lpstr>
      <vt:lpstr>Segoe UI</vt:lpstr>
      <vt:lpstr>Arial</vt:lpstr>
      <vt:lpstr>Office 主题​​</vt:lpstr>
      <vt:lpstr>think-cell 幻灯片</vt:lpstr>
      <vt:lpstr>Microsoft Word Document</vt:lpstr>
      <vt:lpstr>Document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ihan Dong</dc:creator>
  <cp:lastModifiedBy>Feng Zilu</cp:lastModifiedBy>
  <cp:revision>14</cp:revision>
  <dcterms:created xsi:type="dcterms:W3CDTF">2022-06-17T10:33:17Z</dcterms:created>
  <dcterms:modified xsi:type="dcterms:W3CDTF">2022-07-06T09:07:30Z</dcterms:modified>
</cp:coreProperties>
</file>